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2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4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9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21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2"/>
  </p:notesMasterIdLst>
  <p:sldIdLst>
    <p:sldId id="1188" r:id="rId2"/>
    <p:sldId id="1179" r:id="rId3"/>
    <p:sldId id="1243" r:id="rId4"/>
    <p:sldId id="1224" r:id="rId5"/>
    <p:sldId id="1181" r:id="rId6"/>
    <p:sldId id="1192" r:id="rId7"/>
    <p:sldId id="1209" r:id="rId8"/>
    <p:sldId id="1180" r:id="rId9"/>
    <p:sldId id="1231" r:id="rId10"/>
    <p:sldId id="1235" r:id="rId11"/>
    <p:sldId id="1236" r:id="rId12"/>
    <p:sldId id="1238" r:id="rId13"/>
    <p:sldId id="1239" r:id="rId14"/>
    <p:sldId id="1240" r:id="rId15"/>
    <p:sldId id="1241" r:id="rId16"/>
    <p:sldId id="1242" r:id="rId17"/>
    <p:sldId id="1184" r:id="rId18"/>
    <p:sldId id="1207" r:id="rId19"/>
    <p:sldId id="1208" r:id="rId20"/>
    <p:sldId id="1193" r:id="rId21"/>
    <p:sldId id="1201" r:id="rId22"/>
    <p:sldId id="1185" r:id="rId23"/>
    <p:sldId id="1253" r:id="rId24"/>
    <p:sldId id="1254" r:id="rId25"/>
    <p:sldId id="1257" r:id="rId26"/>
    <p:sldId id="1255" r:id="rId27"/>
    <p:sldId id="1258" r:id="rId28"/>
    <p:sldId id="1256" r:id="rId29"/>
    <p:sldId id="1259" r:id="rId30"/>
    <p:sldId id="1260" r:id="rId31"/>
  </p:sldIdLst>
  <p:sldSz cx="12192000" cy="6858000"/>
  <p:notesSz cx="6858000" cy="9144000"/>
  <p:custDataLst>
    <p:tags r:id="rId33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ájek Ondřej RNDr. Ph.D." initials="MORP" lastIdx="1" clrIdx="0">
    <p:extLst>
      <p:ext uri="{19B8F6BF-5375-455C-9EA6-DF929625EA0E}">
        <p15:presenceInfo xmlns:p15="http://schemas.microsoft.com/office/powerpoint/2012/main" userId="S::majeko@mzcr.cz::9d61c4b0-e3bf-4878-8005-e21f10a403b2" providerId="AD"/>
      </p:ext>
    </p:extLst>
  </p:cmAuthor>
  <p:cmAuthor id="2" name="Kouřil Jan Mgr." initials="KJM" lastIdx="1" clrIdx="1">
    <p:extLst>
      <p:ext uri="{19B8F6BF-5375-455C-9EA6-DF929625EA0E}">
        <p15:presenceInfo xmlns:p15="http://schemas.microsoft.com/office/powerpoint/2012/main" userId="S::kourilj@mzcr.cz::dbc45f57-da0e-49ed-8558-d54a6c5b7b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6633"/>
    <a:srgbClr val="66FFFF"/>
    <a:srgbClr val="FF9900"/>
    <a:srgbClr val="CDD1D9"/>
    <a:srgbClr val="E8EAED"/>
    <a:srgbClr val="F797B0"/>
    <a:srgbClr val="FF7C80"/>
    <a:srgbClr val="00CD61"/>
    <a:srgbClr val="00FF00"/>
    <a:srgbClr val="D311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Světlý styl 1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Světlý styl 1 – zvýraznění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67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120" y="114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640230244309003E-2"/>
          <c:y val="8.1965526849870296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07.11.202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8ED-4368-B9BE-D456B2020E7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8ED-4368-B9BE-D456B2020E7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D9-4FAE-ACD8-8FC9D76B16F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61-42EC-8144-BD0DFC6360C1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561-42EC-8144-BD0DFC6360C1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154-4F68-8DDF-88A5914185CF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561-42EC-8144-BD0DFC6360C1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154-4F68-8DDF-88A5914185CF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561-42EC-8144-BD0DFC6360C1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154-4F68-8DDF-88A5914185CF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154-4F68-8DDF-88A5914185CF}"/>
              </c:ext>
            </c:extLst>
          </c:dPt>
          <c:cat>
            <c:strRef>
              <c:f>List1!$A$2:$A$32</c:f>
              <c:strCache>
                <c:ptCount val="31"/>
                <c:pt idx="0">
                  <c:v>Slovinsko</c:v>
                </c:pt>
                <c:pt idx="1">
                  <c:v>Slovensko</c:v>
                </c:pt>
                <c:pt idx="2">
                  <c:v>Rakousko</c:v>
                </c:pt>
                <c:pt idx="3">
                  <c:v>Česká republika</c:v>
                </c:pt>
                <c:pt idx="4">
                  <c:v>Chorvatsko</c:v>
                </c:pt>
                <c:pt idx="5">
                  <c:v>Belgie</c:v>
                </c:pt>
                <c:pt idx="6">
                  <c:v>Lichtenštejnsko</c:v>
                </c:pt>
                <c:pt idx="7">
                  <c:v>Nizozemsko</c:v>
                </c:pt>
                <c:pt idx="8">
                  <c:v>Irsko</c:v>
                </c:pt>
                <c:pt idx="9">
                  <c:v>Maďarsko</c:v>
                </c:pt>
                <c:pt idx="10">
                  <c:v>Litva</c:v>
                </c:pt>
                <c:pt idx="11">
                  <c:v>Estonsko</c:v>
                </c:pt>
                <c:pt idx="12">
                  <c:v>Řecko</c:v>
                </c:pt>
                <c:pt idx="13">
                  <c:v>Dánsko</c:v>
                </c:pt>
                <c:pt idx="14">
                  <c:v>Velká Británie</c:v>
                </c:pt>
                <c:pt idx="15">
                  <c:v>Lotyšsko</c:v>
                </c:pt>
                <c:pt idx="16">
                  <c:v>Německo</c:v>
                </c:pt>
                <c:pt idx="17">
                  <c:v>Polsko</c:v>
                </c:pt>
                <c:pt idx="18">
                  <c:v>Island</c:v>
                </c:pt>
                <c:pt idx="19">
                  <c:v>Lucembursko</c:v>
                </c:pt>
                <c:pt idx="20">
                  <c:v>Bulharsko</c:v>
                </c:pt>
                <c:pt idx="21">
                  <c:v>Norsko</c:v>
                </c:pt>
                <c:pt idx="22">
                  <c:v>Kypr</c:v>
                </c:pt>
                <c:pt idx="23">
                  <c:v>Francie</c:v>
                </c:pt>
                <c:pt idx="24">
                  <c:v>Rumunsko</c:v>
                </c:pt>
                <c:pt idx="25">
                  <c:v>Portugalsko</c:v>
                </c:pt>
                <c:pt idx="26">
                  <c:v>Finsko</c:v>
                </c:pt>
                <c:pt idx="27">
                  <c:v>Itálie</c:v>
                </c:pt>
                <c:pt idx="28">
                  <c:v>Malta</c:v>
                </c:pt>
                <c:pt idx="29">
                  <c:v>Španělsko</c:v>
                </c:pt>
                <c:pt idx="30">
                  <c:v>Švédsko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1749.4003657685314</c:v>
                </c:pt>
                <c:pt idx="1">
                  <c:v>1392.41055993791</c:v>
                </c:pt>
                <c:pt idx="2">
                  <c:v>1025.495378979412</c:v>
                </c:pt>
                <c:pt idx="3">
                  <c:v>820.77333712114864</c:v>
                </c:pt>
                <c:pt idx="4">
                  <c:v>1393.8319412838068</c:v>
                </c:pt>
                <c:pt idx="5">
                  <c:v>977.31036134707585</c:v>
                </c:pt>
                <c:pt idx="6">
                  <c:v>348.41407076676904</c:v>
                </c:pt>
                <c:pt idx="7">
                  <c:v>680.24944298706578</c:v>
                </c:pt>
                <c:pt idx="8">
                  <c:v>858.364689672954</c:v>
                </c:pt>
                <c:pt idx="9">
                  <c:v>608.88317406596798</c:v>
                </c:pt>
                <c:pt idx="10">
                  <c:v>1401.7086063798947</c:v>
                </c:pt>
                <c:pt idx="11">
                  <c:v>1697.7733232202838</c:v>
                </c:pt>
                <c:pt idx="12">
                  <c:v>652.56869739559352</c:v>
                </c:pt>
                <c:pt idx="13">
                  <c:v>478.22657387910169</c:v>
                </c:pt>
                <c:pt idx="14">
                  <c:v>776.13291698809326</c:v>
                </c:pt>
                <c:pt idx="15">
                  <c:v>1533.3324596694931</c:v>
                </c:pt>
                <c:pt idx="16">
                  <c:v>378.08757400542152</c:v>
                </c:pt>
                <c:pt idx="17">
                  <c:v>357.38581276036246</c:v>
                </c:pt>
                <c:pt idx="18">
                  <c:v>392.16332449043483</c:v>
                </c:pt>
                <c:pt idx="19">
                  <c:v>429.31890344796744</c:v>
                </c:pt>
                <c:pt idx="20">
                  <c:v>912.51045460521948</c:v>
                </c:pt>
                <c:pt idx="21">
                  <c:v>313.54912269588903</c:v>
                </c:pt>
                <c:pt idx="22">
                  <c:v>276.12457137065667</c:v>
                </c:pt>
                <c:pt idx="23">
                  <c:v>132.15346783795226</c:v>
                </c:pt>
                <c:pt idx="24">
                  <c:v>724.4201643161374</c:v>
                </c:pt>
                <c:pt idx="25">
                  <c:v>122.67008187426677</c:v>
                </c:pt>
                <c:pt idx="26">
                  <c:v>167.26717791566492</c:v>
                </c:pt>
                <c:pt idx="27">
                  <c:v>118.73613884348426</c:v>
                </c:pt>
                <c:pt idx="28">
                  <c:v>67.824410568947698</c:v>
                </c:pt>
                <c:pt idx="29">
                  <c:v>61.631922547104629</c:v>
                </c:pt>
                <c:pt idx="30">
                  <c:v>106.259069759650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1.11.2021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Slovinsko</c:v>
                </c:pt>
                <c:pt idx="1">
                  <c:v>Slovensko</c:v>
                </c:pt>
                <c:pt idx="2">
                  <c:v>Rakousko</c:v>
                </c:pt>
                <c:pt idx="3">
                  <c:v>Česká republika</c:v>
                </c:pt>
                <c:pt idx="4">
                  <c:v>Chorvatsko</c:v>
                </c:pt>
                <c:pt idx="5">
                  <c:v>Belgie</c:v>
                </c:pt>
                <c:pt idx="6">
                  <c:v>Lichtenštejnsko</c:v>
                </c:pt>
                <c:pt idx="7">
                  <c:v>Nizozemsko</c:v>
                </c:pt>
                <c:pt idx="8">
                  <c:v>Irsko</c:v>
                </c:pt>
                <c:pt idx="9">
                  <c:v>Maďarsko</c:v>
                </c:pt>
                <c:pt idx="10">
                  <c:v>Litva</c:v>
                </c:pt>
                <c:pt idx="11">
                  <c:v>Estonsko</c:v>
                </c:pt>
                <c:pt idx="12">
                  <c:v>Řecko</c:v>
                </c:pt>
                <c:pt idx="13">
                  <c:v>Dánsko</c:v>
                </c:pt>
                <c:pt idx="14">
                  <c:v>Velká Británie</c:v>
                </c:pt>
                <c:pt idx="15">
                  <c:v>Lotyšsko</c:v>
                </c:pt>
                <c:pt idx="16">
                  <c:v>Německo</c:v>
                </c:pt>
                <c:pt idx="17">
                  <c:v>Polsko</c:v>
                </c:pt>
                <c:pt idx="18">
                  <c:v>Island</c:v>
                </c:pt>
                <c:pt idx="19">
                  <c:v>Lucembursko</c:v>
                </c:pt>
                <c:pt idx="20">
                  <c:v>Bulharsko</c:v>
                </c:pt>
                <c:pt idx="21">
                  <c:v>Norsko</c:v>
                </c:pt>
                <c:pt idx="22">
                  <c:v>Kypr</c:v>
                </c:pt>
                <c:pt idx="23">
                  <c:v>Francie</c:v>
                </c:pt>
                <c:pt idx="24">
                  <c:v>Rumunsko</c:v>
                </c:pt>
                <c:pt idx="25">
                  <c:v>Portugalsko</c:v>
                </c:pt>
                <c:pt idx="26">
                  <c:v>Finsko</c:v>
                </c:pt>
                <c:pt idx="27">
                  <c:v>Itálie</c:v>
                </c:pt>
                <c:pt idx="28">
                  <c:v>Malta</c:v>
                </c:pt>
                <c:pt idx="29">
                  <c:v>Španělsko</c:v>
                </c:pt>
                <c:pt idx="30">
                  <c:v>Švédsko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2136.9737783183141</c:v>
                </c:pt>
                <c:pt idx="1">
                  <c:v>2038.2115890201183</c:v>
                </c:pt>
                <c:pt idx="2">
                  <c:v>1992.4808989127591</c:v>
                </c:pt>
                <c:pt idx="3">
                  <c:v>1720.8158752354955</c:v>
                </c:pt>
                <c:pt idx="4">
                  <c:v>1703.6764153256458</c:v>
                </c:pt>
                <c:pt idx="5">
                  <c:v>1610.0496075484014</c:v>
                </c:pt>
                <c:pt idx="6">
                  <c:v>1393.6562830670762</c:v>
                </c:pt>
                <c:pt idx="7">
                  <c:v>1386.3841538042179</c:v>
                </c:pt>
                <c:pt idx="8">
                  <c:v>1214.7392253708374</c:v>
                </c:pt>
                <c:pt idx="9">
                  <c:v>1184.2949187094646</c:v>
                </c:pt>
                <c:pt idx="10">
                  <c:v>1008.8794562809358</c:v>
                </c:pt>
                <c:pt idx="11">
                  <c:v>895.50149889839997</c:v>
                </c:pt>
                <c:pt idx="12">
                  <c:v>866.87910182006635</c:v>
                </c:pt>
                <c:pt idx="13">
                  <c:v>818.88958901469971</c:v>
                </c:pt>
                <c:pt idx="14">
                  <c:v>798.68365294828766</c:v>
                </c:pt>
                <c:pt idx="15">
                  <c:v>749.18421638906</c:v>
                </c:pt>
                <c:pt idx="16">
                  <c:v>731.82766599968102</c:v>
                </c:pt>
                <c:pt idx="17">
                  <c:v>648.62507217819791</c:v>
                </c:pt>
                <c:pt idx="18">
                  <c:v>613.23578682572895</c:v>
                </c:pt>
                <c:pt idx="19">
                  <c:v>595.10499785979414</c:v>
                </c:pt>
                <c:pt idx="20">
                  <c:v>590.50717530448901</c:v>
                </c:pt>
                <c:pt idx="21">
                  <c:v>491.48778406656254</c:v>
                </c:pt>
                <c:pt idx="22">
                  <c:v>440.20022409783729</c:v>
                </c:pt>
                <c:pt idx="23">
                  <c:v>280.1803250304485</c:v>
                </c:pt>
                <c:pt idx="24">
                  <c:v>252.2810734923641</c:v>
                </c:pt>
                <c:pt idx="25">
                  <c:v>248.02084012203292</c:v>
                </c:pt>
                <c:pt idx="26">
                  <c:v>234.57583780187545</c:v>
                </c:pt>
                <c:pt idx="27">
                  <c:v>175.03419767125862</c:v>
                </c:pt>
                <c:pt idx="28">
                  <c:v>163.82801750608283</c:v>
                </c:pt>
                <c:pt idx="29">
                  <c:v>132.43299852401981</c:v>
                </c:pt>
                <c:pt idx="30">
                  <c:v>125.188947778615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C138-4612-AF06-5399DE4C08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2064"/>
        <c:axId val="354362456"/>
      </c:barChart>
      <c:catAx>
        <c:axId val="354362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456"/>
        <c:crosses val="autoZero"/>
        <c:auto val="1"/>
        <c:lblAlgn val="ctr"/>
        <c:lblOffset val="100"/>
        <c:noMultiLvlLbl val="0"/>
      </c:catAx>
      <c:valAx>
        <c:axId val="354362456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I$2:$I$47</c:f>
              <c:numCache>
                <c:formatCode>General</c:formatCode>
                <c:ptCount val="46"/>
                <c:pt idx="0">
                  <c:v>3.349984899031802</c:v>
                </c:pt>
                <c:pt idx="1">
                  <c:v>2.9681213354115967</c:v>
                </c:pt>
                <c:pt idx="2">
                  <c:v>3.2371615734167416</c:v>
                </c:pt>
                <c:pt idx="3">
                  <c:v>2.5428641850163682</c:v>
                </c:pt>
                <c:pt idx="4">
                  <c:v>2.5515429023713727</c:v>
                </c:pt>
                <c:pt idx="5">
                  <c:v>2.4213621420463025</c:v>
                </c:pt>
                <c:pt idx="6">
                  <c:v>1.8225306445509806</c:v>
                </c:pt>
                <c:pt idx="7">
                  <c:v>1.4753819503507937</c:v>
                </c:pt>
                <c:pt idx="8">
                  <c:v>1.4840606677057984</c:v>
                </c:pt>
                <c:pt idx="9">
                  <c:v>1.4840606677057984</c:v>
                </c:pt>
                <c:pt idx="10">
                  <c:v>1.5448116891908312</c:v>
                </c:pt>
                <c:pt idx="11">
                  <c:v>1.6315988627408777</c:v>
                </c:pt>
                <c:pt idx="12">
                  <c:v>2.2217516428811952</c:v>
                </c:pt>
                <c:pt idx="13">
                  <c:v>2.4821131635313352</c:v>
                </c:pt>
                <c:pt idx="14">
                  <c:v>2.2738239470112234</c:v>
                </c:pt>
                <c:pt idx="15">
                  <c:v>2.3692898379162748</c:v>
                </c:pt>
                <c:pt idx="16">
                  <c:v>2.2043942081711858</c:v>
                </c:pt>
                <c:pt idx="17">
                  <c:v>2.2130729255261907</c:v>
                </c:pt>
                <c:pt idx="18">
                  <c:v>1.2150204297006537</c:v>
                </c:pt>
                <c:pt idx="19">
                  <c:v>1.1195545387956023</c:v>
                </c:pt>
                <c:pt idx="20">
                  <c:v>0.85051430079045764</c:v>
                </c:pt>
                <c:pt idx="21">
                  <c:v>0.72901225782039214</c:v>
                </c:pt>
                <c:pt idx="22">
                  <c:v>0.43393586775023346</c:v>
                </c:pt>
                <c:pt idx="23">
                  <c:v>0.35582741155519143</c:v>
                </c:pt>
                <c:pt idx="24">
                  <c:v>0.19961049916510737</c:v>
                </c:pt>
                <c:pt idx="25">
                  <c:v>0.1735743471000934</c:v>
                </c:pt>
                <c:pt idx="26">
                  <c:v>8.6787173550046698E-2</c:v>
                </c:pt>
                <c:pt idx="27">
                  <c:v>6.0751021485032683E-2</c:v>
                </c:pt>
                <c:pt idx="28">
                  <c:v>9.5465890905051351E-2</c:v>
                </c:pt>
                <c:pt idx="29">
                  <c:v>0.18225306445509803</c:v>
                </c:pt>
                <c:pt idx="30">
                  <c:v>0.19961049916510737</c:v>
                </c:pt>
                <c:pt idx="31">
                  <c:v>0.1909317818101027</c:v>
                </c:pt>
                <c:pt idx="32">
                  <c:v>0.35582741155519143</c:v>
                </c:pt>
                <c:pt idx="33">
                  <c:v>0.2777189553601494</c:v>
                </c:pt>
                <c:pt idx="34">
                  <c:v>0.34714869420018679</c:v>
                </c:pt>
                <c:pt idx="35">
                  <c:v>0.41657843304022413</c:v>
                </c:pt>
                <c:pt idx="36">
                  <c:v>0.3384699768451821</c:v>
                </c:pt>
                <c:pt idx="37">
                  <c:v>0.46865073717025213</c:v>
                </c:pt>
                <c:pt idx="38">
                  <c:v>0.48600817188026146</c:v>
                </c:pt>
                <c:pt idx="39">
                  <c:v>0.53808047601028952</c:v>
                </c:pt>
                <c:pt idx="40">
                  <c:v>0.78976327930542489</c:v>
                </c:pt>
                <c:pt idx="41">
                  <c:v>0.93730147434050426</c:v>
                </c:pt>
                <c:pt idx="42">
                  <c:v>1.3018076032507004</c:v>
                </c:pt>
                <c:pt idx="43">
                  <c:v>1.336522472670719</c:v>
                </c:pt>
                <c:pt idx="44">
                  <c:v>1.674992449515901</c:v>
                </c:pt>
                <c:pt idx="45">
                  <c:v>2.2304303602362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C$2:$C$47</c:f>
              <c:numCache>
                <c:formatCode>General</c:formatCode>
                <c:ptCount val="46"/>
                <c:pt idx="0">
                  <c:v>11.483140122643302</c:v>
                </c:pt>
                <c:pt idx="1">
                  <c:v>10.88467027911792</c:v>
                </c:pt>
                <c:pt idx="2">
                  <c:v>9.7344860485925722</c:v>
                </c:pt>
                <c:pt idx="3">
                  <c:v>9.1266651137621047</c:v>
                </c:pt>
                <c:pt idx="4">
                  <c:v>8.6030040006773945</c:v>
                </c:pt>
                <c:pt idx="5">
                  <c:v>8.8461323746095797</c:v>
                </c:pt>
                <c:pt idx="6">
                  <c:v>10.202040613846778</c:v>
                </c:pt>
                <c:pt idx="7">
                  <c:v>11.277416113931453</c:v>
                </c:pt>
                <c:pt idx="8">
                  <c:v>13.231794196694034</c:v>
                </c:pt>
                <c:pt idx="9">
                  <c:v>14.447436066354971</c:v>
                </c:pt>
                <c:pt idx="10">
                  <c:v>13.287900744524537</c:v>
                </c:pt>
                <c:pt idx="11">
                  <c:v>11.240011748711115</c:v>
                </c:pt>
                <c:pt idx="12">
                  <c:v>9.6596773181518998</c:v>
                </c:pt>
                <c:pt idx="13">
                  <c:v>7.3967132223215417</c:v>
                </c:pt>
                <c:pt idx="14">
                  <c:v>5.3207709525928655</c:v>
                </c:pt>
                <c:pt idx="15">
                  <c:v>3.9274583481353318</c:v>
                </c:pt>
                <c:pt idx="16">
                  <c:v>3.1232644958980971</c:v>
                </c:pt>
                <c:pt idx="17">
                  <c:v>2.3938793741015356</c:v>
                </c:pt>
                <c:pt idx="18">
                  <c:v>1.5616322479490485</c:v>
                </c:pt>
                <c:pt idx="19">
                  <c:v>0.99121567833891699</c:v>
                </c:pt>
                <c:pt idx="20">
                  <c:v>0.53301220438979502</c:v>
                </c:pt>
                <c:pt idx="21">
                  <c:v>0.34599037828811258</c:v>
                </c:pt>
                <c:pt idx="22">
                  <c:v>0.25247946523727133</c:v>
                </c:pt>
                <c:pt idx="23">
                  <c:v>0.1215641869660936</c:v>
                </c:pt>
                <c:pt idx="24">
                  <c:v>0.10286200435592535</c:v>
                </c:pt>
                <c:pt idx="25">
                  <c:v>6.5457639135588858E-2</c:v>
                </c:pt>
                <c:pt idx="26">
                  <c:v>2.8053273915252371E-2</c:v>
                </c:pt>
                <c:pt idx="27">
                  <c:v>2.8053273915252371E-2</c:v>
                </c:pt>
                <c:pt idx="28">
                  <c:v>2.8053273915252371E-2</c:v>
                </c:pt>
                <c:pt idx="29">
                  <c:v>3.7404365220336494E-2</c:v>
                </c:pt>
                <c:pt idx="30">
                  <c:v>3.7404365220336494E-2</c:v>
                </c:pt>
                <c:pt idx="31">
                  <c:v>4.6755456525420618E-2</c:v>
                </c:pt>
                <c:pt idx="32">
                  <c:v>8.4159821745757105E-2</c:v>
                </c:pt>
                <c:pt idx="33">
                  <c:v>7.4808730440672988E-2</c:v>
                </c:pt>
                <c:pt idx="34">
                  <c:v>1.8702182610168247E-2</c:v>
                </c:pt>
                <c:pt idx="35">
                  <c:v>5.6106547830504741E-2</c:v>
                </c:pt>
                <c:pt idx="36">
                  <c:v>0.14026636957626185</c:v>
                </c:pt>
                <c:pt idx="37">
                  <c:v>0.1215641869660936</c:v>
                </c:pt>
                <c:pt idx="38">
                  <c:v>0.14026636957626185</c:v>
                </c:pt>
                <c:pt idx="39">
                  <c:v>0.2431283739321872</c:v>
                </c:pt>
                <c:pt idx="40">
                  <c:v>0.4956078391694585</c:v>
                </c:pt>
                <c:pt idx="41">
                  <c:v>0.80419385223723461</c:v>
                </c:pt>
                <c:pt idx="42">
                  <c:v>1.5335789740337964</c:v>
                </c:pt>
                <c:pt idx="43">
                  <c:v>2.8240295741354053</c:v>
                </c:pt>
                <c:pt idx="44">
                  <c:v>4.1892889046776869</c:v>
                </c:pt>
                <c:pt idx="45">
                  <c:v>5.9846984352538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D$2:$D$47</c:f>
              <c:numCache>
                <c:formatCode>General</c:formatCode>
                <c:ptCount val="46"/>
                <c:pt idx="0">
                  <c:v>5.1173335510391116</c:v>
                </c:pt>
                <c:pt idx="1">
                  <c:v>5.1292170542055304</c:v>
                </c:pt>
                <c:pt idx="2">
                  <c:v>5.08465391733146</c:v>
                </c:pt>
                <c:pt idx="3">
                  <c:v>4.6984400644228472</c:v>
                </c:pt>
                <c:pt idx="4">
                  <c:v>4.5721778432796469</c:v>
                </c:pt>
                <c:pt idx="5">
                  <c:v>4.3285660283680611</c:v>
                </c:pt>
                <c:pt idx="6">
                  <c:v>3.7655850658589687</c:v>
                </c:pt>
                <c:pt idx="7">
                  <c:v>3.2352837370575283</c:v>
                </c:pt>
                <c:pt idx="8">
                  <c:v>3.0807981958940833</c:v>
                </c:pt>
                <c:pt idx="9">
                  <c:v>2.805992185170648</c:v>
                </c:pt>
                <c:pt idx="10">
                  <c:v>2.7213222251099136</c:v>
                </c:pt>
                <c:pt idx="11">
                  <c:v>2.7777688651504029</c:v>
                </c:pt>
                <c:pt idx="12">
                  <c:v>2.9619631642298949</c:v>
                </c:pt>
                <c:pt idx="13">
                  <c:v>3.1877497243918524</c:v>
                </c:pt>
                <c:pt idx="14">
                  <c:v>2.9530505368550806</c:v>
                </c:pt>
                <c:pt idx="15">
                  <c:v>3.1105069538101304</c:v>
                </c:pt>
                <c:pt idx="16">
                  <c:v>2.957506850542488</c:v>
                </c:pt>
                <c:pt idx="17">
                  <c:v>2.3068850521810567</c:v>
                </c:pt>
                <c:pt idx="18">
                  <c:v>1.8152051086704775</c:v>
                </c:pt>
                <c:pt idx="19">
                  <c:v>1.4349330073450746</c:v>
                </c:pt>
                <c:pt idx="20">
                  <c:v>1.1779522513712672</c:v>
                </c:pt>
                <c:pt idx="21">
                  <c:v>0.888291861689808</c:v>
                </c:pt>
                <c:pt idx="22">
                  <c:v>0.56892271409230177</c:v>
                </c:pt>
                <c:pt idx="23">
                  <c:v>0.48722362982317224</c:v>
                </c:pt>
                <c:pt idx="24">
                  <c:v>0.35947597078416976</c:v>
                </c:pt>
                <c:pt idx="25">
                  <c:v>0.30154389284787797</c:v>
                </c:pt>
                <c:pt idx="26">
                  <c:v>0.24212637701578379</c:v>
                </c:pt>
                <c:pt idx="27">
                  <c:v>0.18122342328788726</c:v>
                </c:pt>
                <c:pt idx="28">
                  <c:v>0.21241761909973669</c:v>
                </c:pt>
                <c:pt idx="29">
                  <c:v>0.42929155188688051</c:v>
                </c:pt>
                <c:pt idx="30">
                  <c:v>0.52138870142662652</c:v>
                </c:pt>
                <c:pt idx="31">
                  <c:v>0.69072862154809478</c:v>
                </c:pt>
                <c:pt idx="32">
                  <c:v>1.2091464471831166</c:v>
                </c:pt>
                <c:pt idx="33">
                  <c:v>1.0932822913105329</c:v>
                </c:pt>
                <c:pt idx="34">
                  <c:v>1.0204958344162174</c:v>
                </c:pt>
                <c:pt idx="35">
                  <c:v>0.90611711643943627</c:v>
                </c:pt>
                <c:pt idx="36">
                  <c:v>0.72489369315154906</c:v>
                </c:pt>
                <c:pt idx="37">
                  <c:v>0.6045732235915583</c:v>
                </c:pt>
                <c:pt idx="38">
                  <c:v>0.48573819192736994</c:v>
                </c:pt>
                <c:pt idx="39">
                  <c:v>0.36690316026318159</c:v>
                </c:pt>
                <c:pt idx="40">
                  <c:v>0.30897108232688975</c:v>
                </c:pt>
                <c:pt idx="41">
                  <c:v>0.30005845495207562</c:v>
                </c:pt>
                <c:pt idx="42">
                  <c:v>0.30600020653528504</c:v>
                </c:pt>
                <c:pt idx="43">
                  <c:v>0.34610702972194862</c:v>
                </c:pt>
                <c:pt idx="44">
                  <c:v>0.35799053288836746</c:v>
                </c:pt>
                <c:pt idx="45">
                  <c:v>0.481281878239962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F$2:$F$47</c:f>
              <c:numCache>
                <c:formatCode>General</c:formatCode>
                <c:ptCount val="46"/>
                <c:pt idx="0">
                  <c:v>5.5498279989258483</c:v>
                </c:pt>
                <c:pt idx="1">
                  <c:v>5.4777305354956933</c:v>
                </c:pt>
                <c:pt idx="2">
                  <c:v>5.2580847748131294</c:v>
                </c:pt>
                <c:pt idx="3">
                  <c:v>4.7466957900178475</c:v>
                </c:pt>
                <c:pt idx="4">
                  <c:v>4.3040508982606198</c:v>
                </c:pt>
                <c:pt idx="5">
                  <c:v>3.5596026712143738</c:v>
                </c:pt>
                <c:pt idx="6">
                  <c:v>3.484151837392119</c:v>
                </c:pt>
                <c:pt idx="7">
                  <c:v>3.4137310591580139</c:v>
                </c:pt>
                <c:pt idx="8">
                  <c:v>3.7742183763087866</c:v>
                </c:pt>
                <c:pt idx="9">
                  <c:v>4.1414124342437599</c:v>
                </c:pt>
                <c:pt idx="10">
                  <c:v>4.7534025308020489</c:v>
                </c:pt>
                <c:pt idx="11">
                  <c:v>4.9965218842293133</c:v>
                </c:pt>
                <c:pt idx="12">
                  <c:v>5.1574836630501242</c:v>
                </c:pt>
                <c:pt idx="13">
                  <c:v>4.912687624426809</c:v>
                </c:pt>
                <c:pt idx="14">
                  <c:v>4.0894351931662065</c:v>
                </c:pt>
                <c:pt idx="15">
                  <c:v>3.651820356997129</c:v>
                </c:pt>
                <c:pt idx="16">
                  <c:v>2.9643794266165862</c:v>
                </c:pt>
                <c:pt idx="17">
                  <c:v>2.4110733119200516</c:v>
                </c:pt>
                <c:pt idx="18">
                  <c:v>1.8980076419287193</c:v>
                </c:pt>
                <c:pt idx="19">
                  <c:v>1.3547616384084851</c:v>
                </c:pt>
                <c:pt idx="20">
                  <c:v>0.95403387655250993</c:v>
                </c:pt>
                <c:pt idx="21">
                  <c:v>0.68408755998844295</c:v>
                </c:pt>
                <c:pt idx="22">
                  <c:v>0.48120865126638024</c:v>
                </c:pt>
                <c:pt idx="23">
                  <c:v>0.35042720597447197</c:v>
                </c:pt>
                <c:pt idx="24">
                  <c:v>0.23305924225096461</c:v>
                </c:pt>
                <c:pt idx="25">
                  <c:v>0.17772863078131115</c:v>
                </c:pt>
                <c:pt idx="26">
                  <c:v>0.13245813048795832</c:v>
                </c:pt>
                <c:pt idx="27">
                  <c:v>0.11066122293930694</c:v>
                </c:pt>
                <c:pt idx="28">
                  <c:v>0.12072133411560758</c:v>
                </c:pt>
                <c:pt idx="29">
                  <c:v>0.15425503803660967</c:v>
                </c:pt>
                <c:pt idx="30">
                  <c:v>0.24144266823121516</c:v>
                </c:pt>
                <c:pt idx="31">
                  <c:v>0.39234433587572459</c:v>
                </c:pt>
                <c:pt idx="32">
                  <c:v>0.52144909597158273</c:v>
                </c:pt>
                <c:pt idx="33">
                  <c:v>0.61702015214643868</c:v>
                </c:pt>
                <c:pt idx="34">
                  <c:v>0.66899739322399199</c:v>
                </c:pt>
                <c:pt idx="35">
                  <c:v>0.6639673376358417</c:v>
                </c:pt>
                <c:pt idx="36">
                  <c:v>0.62372689293063921</c:v>
                </c:pt>
                <c:pt idx="37">
                  <c:v>0.57342633704913593</c:v>
                </c:pt>
                <c:pt idx="38">
                  <c:v>0.47450191048217982</c:v>
                </c:pt>
                <c:pt idx="39">
                  <c:v>0.39066765067967452</c:v>
                </c:pt>
                <c:pt idx="40">
                  <c:v>0.36216400234682272</c:v>
                </c:pt>
                <c:pt idx="41">
                  <c:v>0.38899096548362444</c:v>
                </c:pt>
                <c:pt idx="42">
                  <c:v>0.44599826214932797</c:v>
                </c:pt>
                <c:pt idx="43">
                  <c:v>0.49294544763873094</c:v>
                </c:pt>
                <c:pt idx="44">
                  <c:v>0.58516313342148674</c:v>
                </c:pt>
                <c:pt idx="45">
                  <c:v>0.50803561440318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K$2:$K$47</c:f>
              <c:numCache>
                <c:formatCode>General</c:formatCode>
                <c:ptCount val="46"/>
                <c:pt idx="0">
                  <c:v>8.0249543324824568</c:v>
                </c:pt>
                <c:pt idx="1">
                  <c:v>7.1651377968593364</c:v>
                </c:pt>
                <c:pt idx="2">
                  <c:v>6.1313107718839177</c:v>
                </c:pt>
                <c:pt idx="3">
                  <c:v>5.425032903336354</c:v>
                </c:pt>
                <c:pt idx="4">
                  <c:v>5.2100787694305746</c:v>
                </c:pt>
                <c:pt idx="5">
                  <c:v>5.0770119246317575</c:v>
                </c:pt>
                <c:pt idx="6">
                  <c:v>5.5990433926886523</c:v>
                </c:pt>
                <c:pt idx="7">
                  <c:v>7.7997642874383057</c:v>
                </c:pt>
                <c:pt idx="8">
                  <c:v>9.7343514925903261</c:v>
                </c:pt>
                <c:pt idx="9">
                  <c:v>12.764181189547989</c:v>
                </c:pt>
                <c:pt idx="10">
                  <c:v>15.855426353335872</c:v>
                </c:pt>
                <c:pt idx="11">
                  <c:v>19.049030628507463</c:v>
                </c:pt>
                <c:pt idx="12">
                  <c:v>19.223041117859761</c:v>
                </c:pt>
                <c:pt idx="13">
                  <c:v>15.927077731304466</c:v>
                </c:pt>
                <c:pt idx="14">
                  <c:v>12.723237544994507</c:v>
                </c:pt>
                <c:pt idx="15">
                  <c:v>9.550105092099658</c:v>
                </c:pt>
                <c:pt idx="16">
                  <c:v>7.0730145966140023</c:v>
                </c:pt>
                <c:pt idx="17">
                  <c:v>5.2100787694305746</c:v>
                </c:pt>
                <c:pt idx="18">
                  <c:v>3.480209787045963</c:v>
                </c:pt>
                <c:pt idx="19">
                  <c:v>2.2723722727182465</c:v>
                </c:pt>
                <c:pt idx="20">
                  <c:v>1.2283093366044575</c:v>
                </c:pt>
                <c:pt idx="21">
                  <c:v>0.91099609131497261</c:v>
                </c:pt>
                <c:pt idx="22">
                  <c:v>0.52203146805689449</c:v>
                </c:pt>
                <c:pt idx="23">
                  <c:v>0.27636960073600297</c:v>
                </c:pt>
                <c:pt idx="24">
                  <c:v>0.25589777845926204</c:v>
                </c:pt>
                <c:pt idx="25">
                  <c:v>7.1651377968593361E-2</c:v>
                </c:pt>
                <c:pt idx="26">
                  <c:v>0.11259502252207527</c:v>
                </c:pt>
                <c:pt idx="27">
                  <c:v>7.1651377968593361E-2</c:v>
                </c:pt>
                <c:pt idx="28">
                  <c:v>2.0471822276740961E-2</c:v>
                </c:pt>
                <c:pt idx="29">
                  <c:v>5.1179555691852403E-2</c:v>
                </c:pt>
                <c:pt idx="30">
                  <c:v>7.1651377968593361E-2</c:v>
                </c:pt>
                <c:pt idx="31">
                  <c:v>4.0943644553481921E-2</c:v>
                </c:pt>
                <c:pt idx="32">
                  <c:v>0.13306684479881625</c:v>
                </c:pt>
                <c:pt idx="33">
                  <c:v>7.1651377968593361E-2</c:v>
                </c:pt>
                <c:pt idx="34">
                  <c:v>0.14330275593718672</c:v>
                </c:pt>
                <c:pt idx="35">
                  <c:v>0.30707733415111438</c:v>
                </c:pt>
                <c:pt idx="36">
                  <c:v>0.38896462325807823</c:v>
                </c:pt>
                <c:pt idx="37">
                  <c:v>0.44014417894993063</c:v>
                </c:pt>
                <c:pt idx="38">
                  <c:v>0.71651377968593355</c:v>
                </c:pt>
                <c:pt idx="39">
                  <c:v>0.63462649057896969</c:v>
                </c:pt>
                <c:pt idx="40">
                  <c:v>1.1668938697742346</c:v>
                </c:pt>
                <c:pt idx="41">
                  <c:v>1.9550590274287616</c:v>
                </c:pt>
                <c:pt idx="42">
                  <c:v>3.6132766318447791</c:v>
                </c:pt>
                <c:pt idx="43">
                  <c:v>5.936828460254878</c:v>
                </c:pt>
                <c:pt idx="44">
                  <c:v>8.3115598443568288</c:v>
                </c:pt>
                <c:pt idx="45">
                  <c:v>9.34538686933224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E$2:$E$47</c:f>
              <c:numCache>
                <c:formatCode>General</c:formatCode>
                <c:ptCount val="46"/>
                <c:pt idx="0">
                  <c:v>6.6817599652341668</c:v>
                </c:pt>
                <c:pt idx="1">
                  <c:v>6.1539045351931732</c:v>
                </c:pt>
                <c:pt idx="2">
                  <c:v>5.8316602179927495</c:v>
                </c:pt>
                <c:pt idx="3">
                  <c:v>4.9875724915946238</c:v>
                </c:pt>
                <c:pt idx="4">
                  <c:v>4.0689357067396834</c:v>
                </c:pt>
                <c:pt idx="5">
                  <c:v>3.2585152970639899</c:v>
                </c:pt>
                <c:pt idx="6">
                  <c:v>2.4829646082793873</c:v>
                </c:pt>
                <c:pt idx="7">
                  <c:v>2.0621231492489822</c:v>
                </c:pt>
                <c:pt idx="8">
                  <c:v>1.649698519399186</c:v>
                </c:pt>
                <c:pt idx="9">
                  <c:v>1.4945883816422654</c:v>
                </c:pt>
                <c:pt idx="10">
                  <c:v>1.3478950730659529</c:v>
                </c:pt>
                <c:pt idx="11">
                  <c:v>1.460921064919833</c:v>
                </c:pt>
                <c:pt idx="12">
                  <c:v>1.6569129444111357</c:v>
                </c:pt>
                <c:pt idx="13">
                  <c:v>1.8444879947218307</c:v>
                </c:pt>
                <c:pt idx="14">
                  <c:v>1.8264519321919561</c:v>
                </c:pt>
                <c:pt idx="15">
                  <c:v>1.9250490740219366</c:v>
                </c:pt>
                <c:pt idx="16">
                  <c:v>1.9118226281666952</c:v>
                </c:pt>
                <c:pt idx="17">
                  <c:v>1.7122235361694178</c:v>
                </c:pt>
                <c:pt idx="18">
                  <c:v>1.3779551772824106</c:v>
                </c:pt>
                <c:pt idx="19">
                  <c:v>1.1158310685149013</c:v>
                </c:pt>
                <c:pt idx="20">
                  <c:v>0.82845647220556784</c:v>
                </c:pt>
                <c:pt idx="21">
                  <c:v>0.57114198011269202</c:v>
                </c:pt>
                <c:pt idx="22">
                  <c:v>0.34989961307956496</c:v>
                </c:pt>
                <c:pt idx="23">
                  <c:v>0.28256497963470023</c:v>
                </c:pt>
                <c:pt idx="24">
                  <c:v>0.16472937110618693</c:v>
                </c:pt>
                <c:pt idx="25">
                  <c:v>0.1130259918538801</c:v>
                </c:pt>
                <c:pt idx="26">
                  <c:v>7.2144250119497932E-2</c:v>
                </c:pt>
                <c:pt idx="27">
                  <c:v>6.8537037613523033E-2</c:v>
                </c:pt>
                <c:pt idx="28">
                  <c:v>7.0941845950839633E-2</c:v>
                </c:pt>
                <c:pt idx="29">
                  <c:v>5.6512995926940049E-2</c:v>
                </c:pt>
                <c:pt idx="30">
                  <c:v>6.8537037613523033E-2</c:v>
                </c:pt>
                <c:pt idx="31">
                  <c:v>8.7775504312055816E-2</c:v>
                </c:pt>
                <c:pt idx="32">
                  <c:v>0.15270532941960396</c:v>
                </c:pt>
                <c:pt idx="33">
                  <c:v>0.1923846669853278</c:v>
                </c:pt>
                <c:pt idx="34">
                  <c:v>0.32104191303176582</c:v>
                </c:pt>
                <c:pt idx="35">
                  <c:v>0.3847693339706556</c:v>
                </c:pt>
                <c:pt idx="36">
                  <c:v>0.50380734666782723</c:v>
                </c:pt>
                <c:pt idx="37">
                  <c:v>0.48216407163197783</c:v>
                </c:pt>
                <c:pt idx="38">
                  <c:v>0.45210396741552039</c:v>
                </c:pt>
                <c:pt idx="39">
                  <c:v>0.46412800910210333</c:v>
                </c:pt>
                <c:pt idx="40">
                  <c:v>0.49779532582453578</c:v>
                </c:pt>
                <c:pt idx="41">
                  <c:v>0.65771508025608949</c:v>
                </c:pt>
                <c:pt idx="42">
                  <c:v>0.89218389314445767</c:v>
                </c:pt>
                <c:pt idx="43">
                  <c:v>1.1687368519358665</c:v>
                </c:pt>
                <c:pt idx="44">
                  <c:v>1.3502998814032696</c:v>
                </c:pt>
                <c:pt idx="45">
                  <c:v>1.11583106851490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G$2:$G$47</c:f>
              <c:numCache>
                <c:formatCode>General</c:formatCode>
                <c:ptCount val="46"/>
                <c:pt idx="0">
                  <c:v>3.7340044584013232</c:v>
                </c:pt>
                <c:pt idx="1">
                  <c:v>3.194009967494055</c:v>
                </c:pt>
                <c:pt idx="2">
                  <c:v>3.0618836558890847</c:v>
                </c:pt>
                <c:pt idx="3">
                  <c:v>2.4816768092759567</c:v>
                </c:pt>
                <c:pt idx="4">
                  <c:v>2.3323166309399035</c:v>
                </c:pt>
                <c:pt idx="5">
                  <c:v>2.2633811640155712</c:v>
                </c:pt>
                <c:pt idx="6">
                  <c:v>2.3495504976709864</c:v>
                </c:pt>
                <c:pt idx="7">
                  <c:v>1.5510480057974729</c:v>
                </c:pt>
                <c:pt idx="8">
                  <c:v>1.4189216941925029</c:v>
                </c:pt>
                <c:pt idx="9">
                  <c:v>1.0684997373271479</c:v>
                </c:pt>
                <c:pt idx="10">
                  <c:v>1.0053088926465101</c:v>
                </c:pt>
                <c:pt idx="11">
                  <c:v>0.84445946982306852</c:v>
                </c:pt>
                <c:pt idx="12">
                  <c:v>0.8904164477726233</c:v>
                </c:pt>
                <c:pt idx="13">
                  <c:v>0.77552400289873646</c:v>
                </c:pt>
                <c:pt idx="14">
                  <c:v>0.87318258104154034</c:v>
                </c:pt>
                <c:pt idx="15">
                  <c:v>0.79275786962981942</c:v>
                </c:pt>
                <c:pt idx="16">
                  <c:v>0.80424711411720817</c:v>
                </c:pt>
                <c:pt idx="17">
                  <c:v>0.77552400289873646</c:v>
                </c:pt>
                <c:pt idx="18">
                  <c:v>0.53424986866357393</c:v>
                </c:pt>
                <c:pt idx="19">
                  <c:v>0.49403751295771353</c:v>
                </c:pt>
                <c:pt idx="20">
                  <c:v>0.29297573442841152</c:v>
                </c:pt>
                <c:pt idx="21">
                  <c:v>0.33893271237796624</c:v>
                </c:pt>
                <c:pt idx="22">
                  <c:v>0.12638168936127556</c:v>
                </c:pt>
                <c:pt idx="23">
                  <c:v>6.8935466924332126E-2</c:v>
                </c:pt>
                <c:pt idx="24">
                  <c:v>5.1701600193249098E-2</c:v>
                </c:pt>
                <c:pt idx="25">
                  <c:v>4.0212355705860403E-2</c:v>
                </c:pt>
                <c:pt idx="26">
                  <c:v>6.3190844680637778E-2</c:v>
                </c:pt>
                <c:pt idx="27">
                  <c:v>8.6169333655415153E-2</c:v>
                </c:pt>
                <c:pt idx="28">
                  <c:v>0.16084942282344161</c:v>
                </c:pt>
                <c:pt idx="29">
                  <c:v>0.18957253404191335</c:v>
                </c:pt>
                <c:pt idx="30">
                  <c:v>0.2872311121847172</c:v>
                </c:pt>
                <c:pt idx="31">
                  <c:v>0.24701875647885677</c:v>
                </c:pt>
                <c:pt idx="32">
                  <c:v>0.21255102301669074</c:v>
                </c:pt>
                <c:pt idx="33">
                  <c:v>0.28148648994102282</c:v>
                </c:pt>
                <c:pt idx="34">
                  <c:v>0.22978488974777372</c:v>
                </c:pt>
                <c:pt idx="35">
                  <c:v>0.21829564526038508</c:v>
                </c:pt>
                <c:pt idx="36">
                  <c:v>0.24701875647885677</c:v>
                </c:pt>
                <c:pt idx="37">
                  <c:v>0.12063706711758121</c:v>
                </c:pt>
                <c:pt idx="38">
                  <c:v>0.17233866731083031</c:v>
                </c:pt>
                <c:pt idx="39">
                  <c:v>0.12638168936127556</c:v>
                </c:pt>
                <c:pt idx="40">
                  <c:v>0.26999724545363413</c:v>
                </c:pt>
                <c:pt idx="41">
                  <c:v>0.45956977949554745</c:v>
                </c:pt>
                <c:pt idx="42">
                  <c:v>0.76977938065504203</c:v>
                </c:pt>
                <c:pt idx="43">
                  <c:v>0.90190569226001183</c:v>
                </c:pt>
                <c:pt idx="44">
                  <c:v>1.0627551150834535</c:v>
                </c:pt>
                <c:pt idx="45">
                  <c:v>1.19488142668842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J$2:$J$47</c:f>
              <c:numCache>
                <c:formatCode>General</c:formatCode>
                <c:ptCount val="46"/>
                <c:pt idx="0">
                  <c:v>5.4928932499270644</c:v>
                </c:pt>
                <c:pt idx="1">
                  <c:v>5.7378999992043864</c:v>
                </c:pt>
                <c:pt idx="2">
                  <c:v>5.3269209359004916</c:v>
                </c:pt>
                <c:pt idx="3">
                  <c:v>4.8211005502956965</c:v>
                </c:pt>
                <c:pt idx="4">
                  <c:v>5.0608383372229691</c:v>
                </c:pt>
                <c:pt idx="5">
                  <c:v>4.5471145080930997</c:v>
                </c:pt>
                <c:pt idx="6">
                  <c:v>3.6118736909592348</c:v>
                </c:pt>
                <c:pt idx="7">
                  <c:v>4.2415146917902034</c:v>
                </c:pt>
                <c:pt idx="8">
                  <c:v>4.0044113860379555</c:v>
                </c:pt>
                <c:pt idx="9">
                  <c:v>5.0028797513724195</c:v>
                </c:pt>
                <c:pt idx="10">
                  <c:v>5.6483276392535382</c:v>
                </c:pt>
                <c:pt idx="11">
                  <c:v>6.8259407244896995</c:v>
                </c:pt>
                <c:pt idx="12">
                  <c:v>8.1062985755518362</c:v>
                </c:pt>
                <c:pt idx="13">
                  <c:v>9.2180496314123737</c:v>
                </c:pt>
                <c:pt idx="14">
                  <c:v>9.5447252971154697</c:v>
                </c:pt>
                <c:pt idx="15">
                  <c:v>8.9282567021596257</c:v>
                </c:pt>
                <c:pt idx="16">
                  <c:v>7.020892331441547</c:v>
                </c:pt>
                <c:pt idx="17">
                  <c:v>5.160948621873918</c:v>
                </c:pt>
                <c:pt idx="18">
                  <c:v>4.4127559681668265</c:v>
                </c:pt>
                <c:pt idx="19">
                  <c:v>3.3431566111066884</c:v>
                </c:pt>
                <c:pt idx="20">
                  <c:v>2.1497366388203765</c:v>
                </c:pt>
                <c:pt idx="21">
                  <c:v>1.1012131311604378</c:v>
                </c:pt>
                <c:pt idx="22">
                  <c:v>1.1196544993856126</c:v>
                </c:pt>
                <c:pt idx="23">
                  <c:v>0.67706166198141748</c:v>
                </c:pt>
                <c:pt idx="24">
                  <c:v>0.40307561977882056</c:v>
                </c:pt>
                <c:pt idx="25">
                  <c:v>0.2792550045526469</c:v>
                </c:pt>
                <c:pt idx="26">
                  <c:v>0.20812401282697271</c:v>
                </c:pt>
                <c:pt idx="27">
                  <c:v>0.1448964646263734</c:v>
                </c:pt>
                <c:pt idx="28">
                  <c:v>7.113099172567422E-2</c:v>
                </c:pt>
                <c:pt idx="29">
                  <c:v>5.795858585054936E-2</c:v>
                </c:pt>
                <c:pt idx="30">
                  <c:v>6.8496510550649245E-2</c:v>
                </c:pt>
                <c:pt idx="31">
                  <c:v>4.4786179975424507E-2</c:v>
                </c:pt>
                <c:pt idx="32">
                  <c:v>4.4786179975424507E-2</c:v>
                </c:pt>
                <c:pt idx="33">
                  <c:v>6.3227548200599309E-2</c:v>
                </c:pt>
                <c:pt idx="34">
                  <c:v>9.7475803475923925E-2</c:v>
                </c:pt>
                <c:pt idx="35">
                  <c:v>0.12118613405114867</c:v>
                </c:pt>
                <c:pt idx="36">
                  <c:v>0.16333783285154821</c:v>
                </c:pt>
                <c:pt idx="37">
                  <c:v>0.22129641870209754</c:v>
                </c:pt>
                <c:pt idx="38">
                  <c:v>0.32404118452807146</c:v>
                </c:pt>
                <c:pt idx="39">
                  <c:v>0.45839972445434496</c:v>
                </c:pt>
                <c:pt idx="40">
                  <c:v>0.64808236905614292</c:v>
                </c:pt>
                <c:pt idx="41">
                  <c:v>0.87464775010829032</c:v>
                </c:pt>
                <c:pt idx="42">
                  <c:v>1.4911163450641336</c:v>
                </c:pt>
                <c:pt idx="43">
                  <c:v>1.973226400093703</c:v>
                </c:pt>
                <c:pt idx="44">
                  <c:v>2.9453499536779173</c:v>
                </c:pt>
                <c:pt idx="45">
                  <c:v>5.1978313583242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B$2:$B$47</c:f>
              <c:numCache>
                <c:formatCode>General</c:formatCode>
                <c:ptCount val="46"/>
                <c:pt idx="0">
                  <c:v>3.8759411234432202</c:v>
                </c:pt>
                <c:pt idx="1">
                  <c:v>3.9995218549153226</c:v>
                </c:pt>
                <c:pt idx="2">
                  <c:v>3.347914361698781</c:v>
                </c:pt>
                <c:pt idx="3">
                  <c:v>3.2243336302266785</c:v>
                </c:pt>
                <c:pt idx="4">
                  <c:v>2.4491454055380344</c:v>
                </c:pt>
                <c:pt idx="5">
                  <c:v>2.0559339872177076</c:v>
                </c:pt>
                <c:pt idx="6">
                  <c:v>1.6964264047534094</c:v>
                </c:pt>
                <c:pt idx="7">
                  <c:v>1.651487956945372</c:v>
                </c:pt>
                <c:pt idx="8">
                  <c:v>1.4829687776652321</c:v>
                </c:pt>
                <c:pt idx="9">
                  <c:v>1.7863033003694837</c:v>
                </c:pt>
                <c:pt idx="10">
                  <c:v>2.0334647633136891</c:v>
                </c:pt>
                <c:pt idx="11">
                  <c:v>1.9997609274576613</c:v>
                </c:pt>
                <c:pt idx="12">
                  <c:v>2.3929723457779879</c:v>
                </c:pt>
                <c:pt idx="13">
                  <c:v>2.3255646740659319</c:v>
                </c:pt>
                <c:pt idx="14">
                  <c:v>2.224453166497848</c:v>
                </c:pt>
                <c:pt idx="15">
                  <c:v>1.7750686884174747</c:v>
                </c:pt>
                <c:pt idx="16">
                  <c:v>1.7638340764654652</c:v>
                </c:pt>
                <c:pt idx="17">
                  <c:v>1.2470419266730359</c:v>
                </c:pt>
                <c:pt idx="18">
                  <c:v>0.92123818006476521</c:v>
                </c:pt>
                <c:pt idx="19">
                  <c:v>0.61790365736051334</c:v>
                </c:pt>
                <c:pt idx="20">
                  <c:v>0.50555753784042001</c:v>
                </c:pt>
                <c:pt idx="21">
                  <c:v>0.33703835856027997</c:v>
                </c:pt>
                <c:pt idx="22">
                  <c:v>0.19098840318415863</c:v>
                </c:pt>
                <c:pt idx="23">
                  <c:v>0.11234611952009332</c:v>
                </c:pt>
                <c:pt idx="24">
                  <c:v>5.6173059760046662E-2</c:v>
                </c:pt>
                <c:pt idx="25">
                  <c:v>3.3703835856028E-2</c:v>
                </c:pt>
                <c:pt idx="26">
                  <c:v>1.1234611952009333E-2</c:v>
                </c:pt>
                <c:pt idx="27">
                  <c:v>3.3703835856028E-2</c:v>
                </c:pt>
                <c:pt idx="28">
                  <c:v>4.4938447808037331E-2</c:v>
                </c:pt>
                <c:pt idx="29">
                  <c:v>4.4938447808037331E-2</c:v>
                </c:pt>
                <c:pt idx="30">
                  <c:v>6.7407671712056E-2</c:v>
                </c:pt>
                <c:pt idx="31">
                  <c:v>8.9876895616074662E-2</c:v>
                </c:pt>
                <c:pt idx="32">
                  <c:v>7.8642283664065324E-2</c:v>
                </c:pt>
                <c:pt idx="33">
                  <c:v>0.29209991075224268</c:v>
                </c:pt>
                <c:pt idx="34">
                  <c:v>0.41568064222434531</c:v>
                </c:pt>
                <c:pt idx="35">
                  <c:v>0.42691525417635462</c:v>
                </c:pt>
                <c:pt idx="36">
                  <c:v>0.69654594102457867</c:v>
                </c:pt>
                <c:pt idx="37">
                  <c:v>0.75271900078462528</c:v>
                </c:pt>
                <c:pt idx="38">
                  <c:v>0.61790365736051334</c:v>
                </c:pt>
                <c:pt idx="39">
                  <c:v>0.65160749321654132</c:v>
                </c:pt>
                <c:pt idx="40">
                  <c:v>0.86506512030471872</c:v>
                </c:pt>
                <c:pt idx="41">
                  <c:v>0.79765744859266263</c:v>
                </c:pt>
                <c:pt idx="42">
                  <c:v>0.92123818006476521</c:v>
                </c:pt>
                <c:pt idx="43">
                  <c:v>1.4492649418092038</c:v>
                </c:pt>
                <c:pt idx="44">
                  <c:v>2.4940838533460719</c:v>
                </c:pt>
                <c:pt idx="45">
                  <c:v>2.201983942593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L$2:$L$47</c:f>
              <c:numCache>
                <c:formatCode>General</c:formatCode>
                <c:ptCount val="46"/>
                <c:pt idx="0">
                  <c:v>11.121548632590022</c:v>
                </c:pt>
                <c:pt idx="1">
                  <c:v>11.176515100296397</c:v>
                </c:pt>
                <c:pt idx="2">
                  <c:v>11.3963809711219</c:v>
                </c:pt>
                <c:pt idx="3">
                  <c:v>11.616246841947403</c:v>
                </c:pt>
                <c:pt idx="4">
                  <c:v>11.946045648185658</c:v>
                </c:pt>
                <c:pt idx="5">
                  <c:v>12.459066013445165</c:v>
                </c:pt>
                <c:pt idx="6">
                  <c:v>12.440743857543039</c:v>
                </c:pt>
                <c:pt idx="7">
                  <c:v>12.110945051304784</c:v>
                </c:pt>
                <c:pt idx="8">
                  <c:v>12.055978583598408</c:v>
                </c:pt>
                <c:pt idx="9">
                  <c:v>11.597924686045278</c:v>
                </c:pt>
                <c:pt idx="10">
                  <c:v>9.380943821888124</c:v>
                </c:pt>
                <c:pt idx="11">
                  <c:v>8.7030240535094894</c:v>
                </c:pt>
                <c:pt idx="12">
                  <c:v>7.4021509844585971</c:v>
                </c:pt>
                <c:pt idx="13">
                  <c:v>5.4600024588333218</c:v>
                </c:pt>
                <c:pt idx="14">
                  <c:v>5.0935593407908168</c:v>
                </c:pt>
                <c:pt idx="15">
                  <c:v>4.0675186102718035</c:v>
                </c:pt>
                <c:pt idx="16">
                  <c:v>3.2063772828719173</c:v>
                </c:pt>
                <c:pt idx="17">
                  <c:v>1.7772491225061484</c:v>
                </c:pt>
                <c:pt idx="18">
                  <c:v>1.8322155902125243</c:v>
                </c:pt>
                <c:pt idx="19">
                  <c:v>0.9527521069105126</c:v>
                </c:pt>
                <c:pt idx="20">
                  <c:v>0.87946348330201152</c:v>
                </c:pt>
                <c:pt idx="21">
                  <c:v>0.60463114477013291</c:v>
                </c:pt>
                <c:pt idx="22">
                  <c:v>0.34812096214037963</c:v>
                </c:pt>
                <c:pt idx="23">
                  <c:v>0.25651018262975339</c:v>
                </c:pt>
                <c:pt idx="24">
                  <c:v>0.31147665033612915</c:v>
                </c:pt>
                <c:pt idx="25">
                  <c:v>0.20154371492337766</c:v>
                </c:pt>
                <c:pt idx="26" formatCode="0.00000">
                  <c:v>5.496646770637572E-2</c:v>
                </c:pt>
                <c:pt idx="27">
                  <c:v>3.6644311804250485E-2</c:v>
                </c:pt>
                <c:pt idx="28">
                  <c:v>7.3288623608500969E-2</c:v>
                </c:pt>
                <c:pt idx="29">
                  <c:v>0.18322155902125242</c:v>
                </c:pt>
                <c:pt idx="30">
                  <c:v>7.3288623608500969E-2</c:v>
                </c:pt>
                <c:pt idx="31">
                  <c:v>3.6644311804250485E-2</c:v>
                </c:pt>
                <c:pt idx="32">
                  <c:v>7.3288623608500969E-2</c:v>
                </c:pt>
                <c:pt idx="33">
                  <c:v>7.3288623608500969E-2</c:v>
                </c:pt>
                <c:pt idx="34">
                  <c:v>0.1282550913148767</c:v>
                </c:pt>
                <c:pt idx="35">
                  <c:v>0.49469820935738151</c:v>
                </c:pt>
                <c:pt idx="36">
                  <c:v>0.64127545657438345</c:v>
                </c:pt>
                <c:pt idx="37">
                  <c:v>1.0810071982253893</c:v>
                </c:pt>
                <c:pt idx="38">
                  <c:v>1.4657724721700194</c:v>
                </c:pt>
                <c:pt idx="39">
                  <c:v>1.8322155902125243</c:v>
                </c:pt>
                <c:pt idx="40">
                  <c:v>2.1986587082550293</c:v>
                </c:pt>
                <c:pt idx="41">
                  <c:v>2.3269137995699056</c:v>
                </c:pt>
                <c:pt idx="42">
                  <c:v>3.5544982450122968</c:v>
                </c:pt>
                <c:pt idx="43">
                  <c:v>4.0675186102718035</c:v>
                </c:pt>
                <c:pt idx="44">
                  <c:v>5.0019485612801917</c:v>
                </c:pt>
                <c:pt idx="45">
                  <c:v>3.46288746550167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7</c:f>
              <c:numCache>
                <c:formatCode>General</c:formatCode>
                <c:ptCount val="46"/>
                <c:pt idx="0">
                  <c:v>3.3127264004476915</c:v>
                </c:pt>
                <c:pt idx="1">
                  <c:v>4.871905025148199</c:v>
                </c:pt>
                <c:pt idx="2">
                  <c:v>7.1641933826008426</c:v>
                </c:pt>
                <c:pt idx="3">
                  <c:v>7.9902622745492149</c:v>
                </c:pt>
                <c:pt idx="4">
                  <c:v>6.8578506988859731</c:v>
                </c:pt>
                <c:pt idx="5">
                  <c:v>5.1381062537556028</c:v>
                </c:pt>
                <c:pt idx="6">
                  <c:v>3.54089888211118</c:v>
                </c:pt>
                <c:pt idx="7">
                  <c:v>2.7613095697609262</c:v>
                </c:pt>
                <c:pt idx="8">
                  <c:v>1.9436915104667578</c:v>
                </c:pt>
                <c:pt idx="9">
                  <c:v>1.4873465471397798</c:v>
                </c:pt>
                <c:pt idx="10">
                  <c:v>1.2232580266959268</c:v>
                </c:pt>
                <c:pt idx="11">
                  <c:v>1.0690303307567166</c:v>
                </c:pt>
                <c:pt idx="12">
                  <c:v>1.1133972021912839</c:v>
                </c:pt>
                <c:pt idx="13">
                  <c:v>1.1662149062800546</c:v>
                </c:pt>
                <c:pt idx="14">
                  <c:v>1.1704403226071562</c:v>
                </c:pt>
                <c:pt idx="15">
                  <c:v>1.0901574123922251</c:v>
                </c:pt>
                <c:pt idx="16">
                  <c:v>0.90846451032685416</c:v>
                </c:pt>
                <c:pt idx="17">
                  <c:v>0.92747888379881149</c:v>
                </c:pt>
                <c:pt idx="18">
                  <c:v>0.71409535928017842</c:v>
                </c:pt>
                <c:pt idx="19">
                  <c:v>0.54930412252321414</c:v>
                </c:pt>
                <c:pt idx="20">
                  <c:v>0.38451288576624992</c:v>
                </c:pt>
                <c:pt idx="21">
                  <c:v>0.43521788169146963</c:v>
                </c:pt>
                <c:pt idx="22">
                  <c:v>0.29366643473356446</c:v>
                </c:pt>
                <c:pt idx="23">
                  <c:v>0.24929956329899719</c:v>
                </c:pt>
                <c:pt idx="24">
                  <c:v>0.23451060615414143</c:v>
                </c:pt>
                <c:pt idx="25">
                  <c:v>0.18169290206537081</c:v>
                </c:pt>
                <c:pt idx="26">
                  <c:v>0.17958019390182001</c:v>
                </c:pt>
                <c:pt idx="27">
                  <c:v>0.31690622453262351</c:v>
                </c:pt>
                <c:pt idx="28">
                  <c:v>0.71832077560728003</c:v>
                </c:pt>
                <c:pt idx="29">
                  <c:v>1.0584667899389626</c:v>
                </c:pt>
                <c:pt idx="30">
                  <c:v>1.3014282287473073</c:v>
                </c:pt>
                <c:pt idx="31">
                  <c:v>1.5528405002098553</c:v>
                </c:pt>
                <c:pt idx="32">
                  <c:v>1.4112890532519502</c:v>
                </c:pt>
                <c:pt idx="33">
                  <c:v>1.2232580266959268</c:v>
                </c:pt>
                <c:pt idx="34">
                  <c:v>1.0563540817754118</c:v>
                </c:pt>
                <c:pt idx="35">
                  <c:v>0.81761805929416875</c:v>
                </c:pt>
                <c:pt idx="36">
                  <c:v>0.68874286131756846</c:v>
                </c:pt>
                <c:pt idx="37">
                  <c:v>0.47747204496248613</c:v>
                </c:pt>
                <c:pt idx="38">
                  <c:v>0.36761122045784328</c:v>
                </c:pt>
                <c:pt idx="39">
                  <c:v>0.2852156020793612</c:v>
                </c:pt>
                <c:pt idx="40">
                  <c:v>0.23873602248124307</c:v>
                </c:pt>
                <c:pt idx="41">
                  <c:v>0.24718685513544633</c:v>
                </c:pt>
                <c:pt idx="42">
                  <c:v>0.21127081635508235</c:v>
                </c:pt>
                <c:pt idx="43">
                  <c:v>0.17958019390182001</c:v>
                </c:pt>
                <c:pt idx="44">
                  <c:v>0.27676476942515787</c:v>
                </c:pt>
                <c:pt idx="45">
                  <c:v>0.150002279612108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H$2:$H$47</c:f>
              <c:numCache>
                <c:formatCode>General</c:formatCode>
                <c:ptCount val="46"/>
                <c:pt idx="0">
                  <c:v>9.4137715205215748</c:v>
                </c:pt>
                <c:pt idx="1">
                  <c:v>11.504577962491638</c:v>
                </c:pt>
                <c:pt idx="2">
                  <c:v>12.75053991807183</c:v>
                </c:pt>
                <c:pt idx="3">
                  <c:v>12.076133623718873</c:v>
                </c:pt>
                <c:pt idx="4">
                  <c:v>9.756117199354339</c:v>
                </c:pt>
                <c:pt idx="5">
                  <c:v>6.4178795070451429</c:v>
                </c:pt>
                <c:pt idx="6">
                  <c:v>5.0161723070174267</c:v>
                </c:pt>
                <c:pt idx="7">
                  <c:v>3.3338298080323789</c:v>
                </c:pt>
                <c:pt idx="8">
                  <c:v>2.4272749417670738</c:v>
                </c:pt>
                <c:pt idx="9">
                  <c:v>1.49133418032299</c:v>
                </c:pt>
                <c:pt idx="10">
                  <c:v>0.93887935096196118</c:v>
                </c:pt>
                <c:pt idx="11">
                  <c:v>0.64208180965630213</c:v>
                </c:pt>
                <c:pt idx="12">
                  <c:v>0.3585079211810932</c:v>
                </c:pt>
                <c:pt idx="13">
                  <c:v>0.3878938163598713</c:v>
                </c:pt>
                <c:pt idx="14">
                  <c:v>0.24978010901961412</c:v>
                </c:pt>
                <c:pt idx="15">
                  <c:v>0.23214857191234722</c:v>
                </c:pt>
                <c:pt idx="16">
                  <c:v>0.16162242348327971</c:v>
                </c:pt>
                <c:pt idx="17">
                  <c:v>9.8442748848906733E-2</c:v>
                </c:pt>
                <c:pt idx="18">
                  <c:v>0.10872781216147907</c:v>
                </c:pt>
                <c:pt idx="19">
                  <c:v>6.1710379875434075E-2</c:v>
                </c:pt>
                <c:pt idx="20">
                  <c:v>8.8157685536334379E-2</c:v>
                </c:pt>
                <c:pt idx="21">
                  <c:v>8.6688390777395485E-2</c:v>
                </c:pt>
                <c:pt idx="22">
                  <c:v>9.4034864572090024E-2</c:v>
                </c:pt>
                <c:pt idx="23">
                  <c:v>0.10578922264360126</c:v>
                </c:pt>
                <c:pt idx="24">
                  <c:v>0.18219255010842439</c:v>
                </c:pt>
                <c:pt idx="25">
                  <c:v>0.19247761342099673</c:v>
                </c:pt>
                <c:pt idx="26">
                  <c:v>0.28504318323414785</c:v>
                </c:pt>
                <c:pt idx="27">
                  <c:v>0.41581041677971048</c:v>
                </c:pt>
                <c:pt idx="28">
                  <c:v>0.66118264152250794</c:v>
                </c:pt>
                <c:pt idx="29">
                  <c:v>0.82427435976472652</c:v>
                </c:pt>
                <c:pt idx="30">
                  <c:v>0.93594076144408334</c:v>
                </c:pt>
                <c:pt idx="31">
                  <c:v>0.87716897108652714</c:v>
                </c:pt>
                <c:pt idx="32">
                  <c:v>1.0094054993910289</c:v>
                </c:pt>
                <c:pt idx="33">
                  <c:v>1.1710279228743086</c:v>
                </c:pt>
                <c:pt idx="34">
                  <c:v>1.1636814490796139</c:v>
                </c:pt>
                <c:pt idx="35">
                  <c:v>1.4266852109296781</c:v>
                </c:pt>
                <c:pt idx="36">
                  <c:v>1.4737026432157232</c:v>
                </c:pt>
                <c:pt idx="37">
                  <c:v>1.4178694423760447</c:v>
                </c:pt>
                <c:pt idx="38">
                  <c:v>1.1533963857670415</c:v>
                </c:pt>
                <c:pt idx="39">
                  <c:v>1.1871901652226364</c:v>
                </c:pt>
                <c:pt idx="40">
                  <c:v>1.20922958660672</c:v>
                </c:pt>
                <c:pt idx="41">
                  <c:v>1.3943607262330222</c:v>
                </c:pt>
                <c:pt idx="42">
                  <c:v>1.6147549400738583</c:v>
                </c:pt>
                <c:pt idx="43">
                  <c:v>1.7234827522353373</c:v>
                </c:pt>
                <c:pt idx="44">
                  <c:v>1.6059391715202247</c:v>
                </c:pt>
                <c:pt idx="45">
                  <c:v>1.51190430694813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0479224"/>
        <c:axId val="400485496"/>
      </c:lineChart>
      <c:catAx>
        <c:axId val="40047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5496"/>
        <c:crosses val="autoZero"/>
        <c:auto val="1"/>
        <c:lblAlgn val="ctr"/>
        <c:lblOffset val="100"/>
        <c:tickLblSkip val="1"/>
        <c:noMultiLvlLbl val="1"/>
      </c:catAx>
      <c:valAx>
        <c:axId val="400485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79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F9A-47BA-ACF0-8C394627149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8C7-4F71-B6A6-584BFB277F2C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EDBA-4548-9ED7-7A1AACB2C2AF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EDBA-4548-9ED7-7A1AACB2C2AF}"/>
              </c:ext>
            </c:extLst>
          </c:dPt>
          <c:cat>
            <c:strRef>
              <c:f>List1!$A$2:$A$32</c:f>
              <c:strCache>
                <c:ptCount val="31"/>
                <c:pt idx="0">
                  <c:v>Bulharsko</c:v>
                </c:pt>
                <c:pt idx="1">
                  <c:v>Rumunsko</c:v>
                </c:pt>
                <c:pt idx="2">
                  <c:v>Maďarsko</c:v>
                </c:pt>
                <c:pt idx="3">
                  <c:v>Itálie</c:v>
                </c:pt>
                <c:pt idx="4">
                  <c:v>Polsko</c:v>
                </c:pt>
                <c:pt idx="5">
                  <c:v>Řecko</c:v>
                </c:pt>
                <c:pt idx="6">
                  <c:v>Německo</c:v>
                </c:pt>
                <c:pt idx="7">
                  <c:v>Chorvatsko</c:v>
                </c:pt>
                <c:pt idx="8">
                  <c:v>Lotyšsko</c:v>
                </c:pt>
                <c:pt idx="9">
                  <c:v>Španělsko</c:v>
                </c:pt>
                <c:pt idx="10">
                  <c:v>Francie</c:v>
                </c:pt>
                <c:pt idx="11">
                  <c:v>Portugalsko</c:v>
                </c:pt>
                <c:pt idx="12">
                  <c:v>Belgie</c:v>
                </c:pt>
                <c:pt idx="13">
                  <c:v>Česká republika</c:v>
                </c:pt>
                <c:pt idx="14">
                  <c:v>Slovensko</c:v>
                </c:pt>
                <c:pt idx="15">
                  <c:v>Velká Británie</c:v>
                </c:pt>
                <c:pt idx="16">
                  <c:v>Litva</c:v>
                </c:pt>
                <c:pt idx="17">
                  <c:v>Lichtenštejnsko</c:v>
                </c:pt>
                <c:pt idx="18">
                  <c:v>Slovinsko</c:v>
                </c:pt>
                <c:pt idx="19">
                  <c:v>Švédsko</c:v>
                </c:pt>
                <c:pt idx="20">
                  <c:v>Malta</c:v>
                </c:pt>
                <c:pt idx="21">
                  <c:v>Rakousko</c:v>
                </c:pt>
                <c:pt idx="22">
                  <c:v>Lucembursko</c:v>
                </c:pt>
                <c:pt idx="23">
                  <c:v>Irsko</c:v>
                </c:pt>
                <c:pt idx="24">
                  <c:v>Finsko</c:v>
                </c:pt>
                <c:pt idx="25">
                  <c:v>Estonsko</c:v>
                </c:pt>
                <c:pt idx="26">
                  <c:v>Nizozemsko</c:v>
                </c:pt>
                <c:pt idx="27">
                  <c:v>Dánsko</c:v>
                </c:pt>
                <c:pt idx="28">
                  <c:v>Kypr</c:v>
                </c:pt>
                <c:pt idx="29">
                  <c:v>Norsko</c:v>
                </c:pt>
                <c:pt idx="30">
                  <c:v>Island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4.0413051720677121E-2</c:v>
                </c:pt>
                <c:pt idx="1">
                  <c:v>3.1449257664447665E-2</c:v>
                </c:pt>
                <c:pt idx="2">
                  <c:v>3.1258225463989285E-2</c:v>
                </c:pt>
                <c:pt idx="3">
                  <c:v>2.7152771490158358E-2</c:v>
                </c:pt>
                <c:pt idx="4">
                  <c:v>2.4383152846423138E-2</c:v>
                </c:pt>
                <c:pt idx="5">
                  <c:v>1.9726010622134131E-2</c:v>
                </c:pt>
                <c:pt idx="6">
                  <c:v>1.8344954122315644E-2</c:v>
                </c:pt>
                <c:pt idx="7">
                  <c:v>1.8149156823337828E-2</c:v>
                </c:pt>
                <c:pt idx="8">
                  <c:v>1.7613788732051001E-2</c:v>
                </c:pt>
                <c:pt idx="9">
                  <c:v>1.7084757419707202E-2</c:v>
                </c:pt>
                <c:pt idx="10">
                  <c:v>1.6562414405275172E-2</c:v>
                </c:pt>
                <c:pt idx="11" formatCode="0.0000000">
                  <c:v>1.63198832387021E-2</c:v>
                </c:pt>
                <c:pt idx="12">
                  <c:v>1.6214227088872615E-2</c:v>
                </c:pt>
                <c:pt idx="13">
                  <c:v>1.6061456348530859E-2</c:v>
                </c:pt>
                <c:pt idx="14">
                  <c:v>1.4858245853448424E-2</c:v>
                </c:pt>
                <c:pt idx="15">
                  <c:v>1.4618568579406696E-2</c:v>
                </c:pt>
                <c:pt idx="16">
                  <c:v>1.4492623286223688E-2</c:v>
                </c:pt>
                <c:pt idx="17">
                  <c:v>1.4461830251303936E-2</c:v>
                </c:pt>
                <c:pt idx="18">
                  <c:v>1.3445018677782144E-2</c:v>
                </c:pt>
                <c:pt idx="19">
                  <c:v>1.2691454694721785E-2</c:v>
                </c:pt>
                <c:pt idx="20">
                  <c:v>1.1964313341240781E-2</c:v>
                </c:pt>
                <c:pt idx="21">
                  <c:v>1.0890866902863948E-2</c:v>
                </c:pt>
                <c:pt idx="22">
                  <c:v>1.0321721866257558E-2</c:v>
                </c:pt>
                <c:pt idx="23">
                  <c:v>9.9628683932396159E-3</c:v>
                </c:pt>
                <c:pt idx="24">
                  <c:v>9.82282409044756E-3</c:v>
                </c:pt>
                <c:pt idx="25">
                  <c:v>8.017117878264703E-3</c:v>
                </c:pt>
                <c:pt idx="26">
                  <c:v>7.7947326999601172E-3</c:v>
                </c:pt>
                <c:pt idx="27">
                  <c:v>6.2961281941783173E-3</c:v>
                </c:pt>
                <c:pt idx="28">
                  <c:v>5.4588454231768307E-3</c:v>
                </c:pt>
                <c:pt idx="29">
                  <c:v>5.1751315277692479E-3</c:v>
                </c:pt>
                <c:pt idx="30">
                  <c:v>2.024894288606991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1590432"/>
        <c:axId val="401589256"/>
      </c:barChart>
      <c:catAx>
        <c:axId val="401590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89256"/>
        <c:crosses val="autoZero"/>
        <c:auto val="1"/>
        <c:lblAlgn val="ctr"/>
        <c:lblOffset val="100"/>
        <c:noMultiLvlLbl val="0"/>
      </c:catAx>
      <c:valAx>
        <c:axId val="401589256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90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Portugalsko</c:v>
                </c:pt>
                <c:pt idx="1">
                  <c:v>Irsko</c:v>
                </c:pt>
                <c:pt idx="2">
                  <c:v>Malta</c:v>
                </c:pt>
                <c:pt idx="3">
                  <c:v>Island</c:v>
                </c:pt>
                <c:pt idx="4">
                  <c:v>Norsko</c:v>
                </c:pt>
                <c:pt idx="5">
                  <c:v>Španělsko</c:v>
                </c:pt>
                <c:pt idx="6">
                  <c:v>Francie</c:v>
                </c:pt>
                <c:pt idx="7">
                  <c:v>Dánsko</c:v>
                </c:pt>
                <c:pt idx="8">
                  <c:v>Finsko</c:v>
                </c:pt>
                <c:pt idx="9">
                  <c:v>Nizozemsko</c:v>
                </c:pt>
                <c:pt idx="10">
                  <c:v>Belgie</c:v>
                </c:pt>
                <c:pt idx="11">
                  <c:v>Itálie</c:v>
                </c:pt>
                <c:pt idx="12">
                  <c:v>Švédsko</c:v>
                </c:pt>
                <c:pt idx="13">
                  <c:v>Německo</c:v>
                </c:pt>
                <c:pt idx="14">
                  <c:v>Kypr</c:v>
                </c:pt>
                <c:pt idx="15">
                  <c:v>Rakousko</c:v>
                </c:pt>
                <c:pt idx="16">
                  <c:v>Lucembursko</c:v>
                </c:pt>
                <c:pt idx="17">
                  <c:v>Lichtenštejnsko</c:v>
                </c:pt>
                <c:pt idx="18">
                  <c:v>Litva</c:v>
                </c:pt>
                <c:pt idx="19">
                  <c:v>Řecko</c:v>
                </c:pt>
                <c:pt idx="20">
                  <c:v>Lotyšsko</c:v>
                </c:pt>
                <c:pt idx="21">
                  <c:v>Estonsko</c:v>
                </c:pt>
                <c:pt idx="22">
                  <c:v>Česká republika</c:v>
                </c:pt>
                <c:pt idx="23">
                  <c:v>Maďarsko</c:v>
                </c:pt>
                <c:pt idx="24">
                  <c:v>Slovinsko</c:v>
                </c:pt>
                <c:pt idx="25">
                  <c:v>Polsko</c:v>
                </c:pt>
                <c:pt idx="26">
                  <c:v>Chorvat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9199999999999999</c:v>
                </c:pt>
                <c:pt idx="1">
                  <c:v>0.94099999999999995</c:v>
                </c:pt>
                <c:pt idx="2">
                  <c:v>0.93300000000000005</c:v>
                </c:pt>
                <c:pt idx="3">
                  <c:v>0.92400000000000004</c:v>
                </c:pt>
                <c:pt idx="4">
                  <c:v>0.92300000000000004</c:v>
                </c:pt>
                <c:pt idx="5">
                  <c:v>0.91500000000000004</c:v>
                </c:pt>
                <c:pt idx="6">
                  <c:v>0.90500000000000003</c:v>
                </c:pt>
                <c:pt idx="7">
                  <c:v>0.90400000000000003</c:v>
                </c:pt>
                <c:pt idx="8">
                  <c:v>0.88700000000000001</c:v>
                </c:pt>
                <c:pt idx="9">
                  <c:v>0.88500000000000001</c:v>
                </c:pt>
                <c:pt idx="10">
                  <c:v>0.88100000000000001</c:v>
                </c:pt>
                <c:pt idx="11">
                  <c:v>0.88100000000000001</c:v>
                </c:pt>
                <c:pt idx="12">
                  <c:v>0.86099999999999999</c:v>
                </c:pt>
                <c:pt idx="13">
                  <c:v>0.84399999999999997</c:v>
                </c:pt>
                <c:pt idx="14">
                  <c:v>0.82699999999999996</c:v>
                </c:pt>
                <c:pt idx="15">
                  <c:v>0.80700000000000005</c:v>
                </c:pt>
                <c:pt idx="16">
                  <c:v>0.79500000000000004</c:v>
                </c:pt>
                <c:pt idx="17">
                  <c:v>0.77200000000000002</c:v>
                </c:pt>
                <c:pt idx="18">
                  <c:v>0.76100000000000001</c:v>
                </c:pt>
                <c:pt idx="19">
                  <c:v>0.752</c:v>
                </c:pt>
                <c:pt idx="20">
                  <c:v>0.72699999999999998</c:v>
                </c:pt>
                <c:pt idx="21">
                  <c:v>0.72099999999999997</c:v>
                </c:pt>
                <c:pt idx="22">
                  <c:v>0.71499999999999997</c:v>
                </c:pt>
                <c:pt idx="23">
                  <c:v>0.70299999999999996</c:v>
                </c:pt>
                <c:pt idx="24">
                  <c:v>0.68300000000000005</c:v>
                </c:pt>
                <c:pt idx="25">
                  <c:v>0.63400000000000001</c:v>
                </c:pt>
                <c:pt idx="26">
                  <c:v>0.60599999999999998</c:v>
                </c:pt>
                <c:pt idx="27">
                  <c:v>0.56599999999999995</c:v>
                </c:pt>
                <c:pt idx="28">
                  <c:v>0.47399999999999998</c:v>
                </c:pt>
                <c:pt idx="29">
                  <c:v>0.3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Irsko</c:v>
                </c:pt>
                <c:pt idx="1">
                  <c:v>Malta</c:v>
                </c:pt>
                <c:pt idx="2">
                  <c:v>Portugalsko</c:v>
                </c:pt>
                <c:pt idx="3">
                  <c:v>Island</c:v>
                </c:pt>
                <c:pt idx="4">
                  <c:v>Dánsko</c:v>
                </c:pt>
                <c:pt idx="5">
                  <c:v>Norsko</c:v>
                </c:pt>
                <c:pt idx="6">
                  <c:v>Belgie</c:v>
                </c:pt>
                <c:pt idx="7">
                  <c:v>Španělsko</c:v>
                </c:pt>
                <c:pt idx="8">
                  <c:v>Finsko</c:v>
                </c:pt>
                <c:pt idx="9">
                  <c:v>Švédsko</c:v>
                </c:pt>
                <c:pt idx="10">
                  <c:v>Itálie</c:v>
                </c:pt>
                <c:pt idx="11">
                  <c:v>Francie</c:v>
                </c:pt>
                <c:pt idx="12">
                  <c:v>Německo</c:v>
                </c:pt>
                <c:pt idx="13">
                  <c:v>Nizozemsko</c:v>
                </c:pt>
                <c:pt idx="14">
                  <c:v>Kypr</c:v>
                </c:pt>
                <c:pt idx="15">
                  <c:v>Lucembursko</c:v>
                </c:pt>
                <c:pt idx="16">
                  <c:v>Rakousko</c:v>
                </c:pt>
                <c:pt idx="17">
                  <c:v>Litva</c:v>
                </c:pt>
                <c:pt idx="18">
                  <c:v>Řecko</c:v>
                </c:pt>
                <c:pt idx="19">
                  <c:v>Lichtenštejnsko</c:v>
                </c:pt>
                <c:pt idx="20">
                  <c:v>Česká republika</c:v>
                </c:pt>
                <c:pt idx="21">
                  <c:v>Maďarsko</c:v>
                </c:pt>
                <c:pt idx="22">
                  <c:v>Estonsko</c:v>
                </c:pt>
                <c:pt idx="23">
                  <c:v>Lotyšsko</c:v>
                </c:pt>
                <c:pt idx="24">
                  <c:v>Slovinsko</c:v>
                </c:pt>
                <c:pt idx="25">
                  <c:v>Polsko</c:v>
                </c:pt>
                <c:pt idx="26">
                  <c:v>Chorvat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2800000000000005</c:v>
                </c:pt>
                <c:pt idx="1">
                  <c:v>0.92100000000000004</c:v>
                </c:pt>
                <c:pt idx="2">
                  <c:v>0.91900000000000004</c:v>
                </c:pt>
                <c:pt idx="3">
                  <c:v>0.91400000000000003</c:v>
                </c:pt>
                <c:pt idx="4">
                  <c:v>0.88700000000000001</c:v>
                </c:pt>
                <c:pt idx="5">
                  <c:v>0.88300000000000001</c:v>
                </c:pt>
                <c:pt idx="6">
                  <c:v>0.86899999999999999</c:v>
                </c:pt>
                <c:pt idx="7">
                  <c:v>0.84399999999999997</c:v>
                </c:pt>
                <c:pt idx="8">
                  <c:v>0.83699999999999997</c:v>
                </c:pt>
                <c:pt idx="9">
                  <c:v>0.82899999999999996</c:v>
                </c:pt>
                <c:pt idx="10">
                  <c:v>0.82299999999999995</c:v>
                </c:pt>
                <c:pt idx="11">
                  <c:v>0.82099999999999995</c:v>
                </c:pt>
                <c:pt idx="12">
                  <c:v>0.81399999999999995</c:v>
                </c:pt>
                <c:pt idx="13">
                  <c:v>0.80600000000000005</c:v>
                </c:pt>
                <c:pt idx="14">
                  <c:v>0.80400000000000005</c:v>
                </c:pt>
                <c:pt idx="15">
                  <c:v>0.76700000000000002</c:v>
                </c:pt>
                <c:pt idx="16">
                  <c:v>0.749</c:v>
                </c:pt>
                <c:pt idx="17">
                  <c:v>0.72199999999999998</c:v>
                </c:pt>
                <c:pt idx="18">
                  <c:v>0.72099999999999997</c:v>
                </c:pt>
                <c:pt idx="19">
                  <c:v>0.71499999999999997</c:v>
                </c:pt>
                <c:pt idx="20">
                  <c:v>0.68899999999999995</c:v>
                </c:pt>
                <c:pt idx="21">
                  <c:v>0.67800000000000005</c:v>
                </c:pt>
                <c:pt idx="22">
                  <c:v>0.67400000000000004</c:v>
                </c:pt>
                <c:pt idx="23">
                  <c:v>0.66</c:v>
                </c:pt>
                <c:pt idx="24">
                  <c:v>0.64300000000000002</c:v>
                </c:pt>
                <c:pt idx="25">
                  <c:v>0.623</c:v>
                </c:pt>
                <c:pt idx="26">
                  <c:v>0.55100000000000005</c:v>
                </c:pt>
                <c:pt idx="27">
                  <c:v>0.54500000000000004</c:v>
                </c:pt>
                <c:pt idx="28">
                  <c:v>0.44800000000000001</c:v>
                </c:pt>
                <c:pt idx="29">
                  <c:v>0.292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93128"/>
        <c:axId val="359286856"/>
      </c:barChart>
      <c:catAx>
        <c:axId val="359293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856"/>
        <c:crosses val="autoZero"/>
        <c:auto val="1"/>
        <c:lblAlgn val="ctr"/>
        <c:lblOffset val="100"/>
        <c:noMultiLvlLbl val="0"/>
      </c:catAx>
      <c:valAx>
        <c:axId val="359286856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47262593113503E-2"/>
          <c:y val="4.8800639884654412E-2"/>
          <c:w val="0.86121607542845235"/>
          <c:h val="0.82460070750847803"/>
        </c:manualLayout>
      </c:layout>
      <c:scatterChart>
        <c:scatterStyle val="lineMarker"/>
        <c:varyColors val="0"/>
        <c:ser>
          <c:idx val="0"/>
          <c:order val="0"/>
          <c:tx>
            <c:strRef>
              <c:f>List1!$C$3</c:f>
              <c:strCache>
                <c:ptCount val="1"/>
                <c:pt idx="0">
                  <c:v>B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649603554792684E-2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</c:f>
              <c:numCache>
                <c:formatCode>0.0%</c:formatCode>
                <c:ptCount val="1"/>
                <c:pt idx="0">
                  <c:v>0.88100000000000001</c:v>
                </c:pt>
              </c:numCache>
            </c:numRef>
          </c:xVal>
          <c:yVal>
            <c:numRef>
              <c:f>List1!$A$3</c:f>
              <c:numCache>
                <c:formatCode>0.0%</c:formatCode>
                <c:ptCount val="1"/>
                <c:pt idx="0">
                  <c:v>0.868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5A2-44FB-8F7B-9BC1EF59F5D8}"/>
            </c:ext>
          </c:extLst>
        </c:ser>
        <c:ser>
          <c:idx val="1"/>
          <c:order val="1"/>
          <c:tx>
            <c:strRef>
              <c:f>List1!$C$2</c:f>
              <c:strCache>
                <c:ptCount val="1"/>
                <c:pt idx="0">
                  <c:v>A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8395341767169662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</c:f>
              <c:numCache>
                <c:formatCode>0.0%</c:formatCode>
                <c:ptCount val="1"/>
                <c:pt idx="0">
                  <c:v>0.80700000000000005</c:v>
                </c:pt>
              </c:numCache>
            </c:numRef>
          </c:xVal>
          <c:yVal>
            <c:numRef>
              <c:f>List1!$A$2</c:f>
              <c:numCache>
                <c:formatCode>0.0%</c:formatCode>
                <c:ptCount val="1"/>
                <c:pt idx="0">
                  <c:v>0.74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5A2-44FB-8F7B-9BC1EF59F5D8}"/>
            </c:ext>
          </c:extLst>
        </c:ser>
        <c:ser>
          <c:idx val="2"/>
          <c:order val="2"/>
          <c:tx>
            <c:strRef>
              <c:f>List1!$C$4</c:f>
              <c:strCache>
                <c:ptCount val="1"/>
                <c:pt idx="0">
                  <c:v>BG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606396832839E-2"/>
                  <c:y val="2.33318636096409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4</c:f>
              <c:numCache>
                <c:formatCode>0.0%</c:formatCode>
                <c:ptCount val="1"/>
                <c:pt idx="0">
                  <c:v>0.316</c:v>
                </c:pt>
              </c:numCache>
            </c:numRef>
          </c:xVal>
          <c:yVal>
            <c:numRef>
              <c:f>List1!$A$4</c:f>
              <c:numCache>
                <c:formatCode>0.0%</c:formatCode>
                <c:ptCount val="1"/>
                <c:pt idx="0">
                  <c:v>0.292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149-402E-9150-02BFAEF7D23C}"/>
            </c:ext>
          </c:extLst>
        </c:ser>
        <c:ser>
          <c:idx val="3"/>
          <c:order val="3"/>
          <c:tx>
            <c:strRef>
              <c:f>List1!$C$5</c:f>
              <c:strCache>
                <c:ptCount val="1"/>
                <c:pt idx="0">
                  <c:v>H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2945952349223933E-2"/>
                  <c:y val="4.666372721928277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5</c:f>
              <c:numCache>
                <c:formatCode>0.0%</c:formatCode>
                <c:ptCount val="1"/>
                <c:pt idx="0">
                  <c:v>0.60599999999999998</c:v>
                </c:pt>
              </c:numCache>
            </c:numRef>
          </c:xVal>
          <c:yVal>
            <c:numRef>
              <c:f>List1!$A$5</c:f>
              <c:numCache>
                <c:formatCode>0.0%</c:formatCode>
                <c:ptCount val="1"/>
                <c:pt idx="0">
                  <c:v>0.551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149-402E-9150-02BFAEF7D23C}"/>
            </c:ext>
          </c:extLst>
        </c:ser>
        <c:ser>
          <c:idx val="4"/>
          <c:order val="4"/>
          <c:tx>
            <c:strRef>
              <c:f>List1!$C$6</c:f>
              <c:strCache>
                <c:ptCount val="1"/>
                <c:pt idx="0">
                  <c:v>CY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341782560988816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6</c:f>
              <c:numCache>
                <c:formatCode>0.0%</c:formatCode>
                <c:ptCount val="1"/>
                <c:pt idx="0">
                  <c:v>0.82699999999999996</c:v>
                </c:pt>
              </c:numCache>
            </c:numRef>
          </c:xVal>
          <c:yVal>
            <c:numRef>
              <c:f>List1!$A$6</c:f>
              <c:numCache>
                <c:formatCode>0.0%</c:formatCode>
                <c:ptCount val="1"/>
                <c:pt idx="0">
                  <c:v>0.804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149-402E-9150-02BFAEF7D23C}"/>
            </c:ext>
          </c:extLst>
        </c:ser>
        <c:ser>
          <c:idx val="5"/>
          <c:order val="5"/>
          <c:tx>
            <c:strRef>
              <c:f>List1!$C$7</c:f>
              <c:strCache>
                <c:ptCount val="1"/>
                <c:pt idx="0">
                  <c:v>CZ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4698377898256978E-2"/>
                  <c:y val="-1.866549088771311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7</c:f>
              <c:numCache>
                <c:formatCode>0.0%</c:formatCode>
                <c:ptCount val="1"/>
                <c:pt idx="0">
                  <c:v>0.71499999999999997</c:v>
                </c:pt>
              </c:numCache>
            </c:numRef>
          </c:xVal>
          <c:yVal>
            <c:numRef>
              <c:f>List1!$A$7</c:f>
              <c:numCache>
                <c:formatCode>0.0%</c:formatCode>
                <c:ptCount val="1"/>
                <c:pt idx="0">
                  <c:v>0.688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149-402E-9150-02BFAEF7D23C}"/>
            </c:ext>
          </c:extLst>
        </c:ser>
        <c:ser>
          <c:idx val="6"/>
          <c:order val="6"/>
          <c:tx>
            <c:strRef>
              <c:f>List1!$C$8</c:f>
              <c:strCache>
                <c:ptCount val="1"/>
                <c:pt idx="0">
                  <c:v>D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945375240029266E-2"/>
                  <c:y val="-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8</c:f>
              <c:numCache>
                <c:formatCode>0.0%</c:formatCode>
                <c:ptCount val="1"/>
                <c:pt idx="0">
                  <c:v>0.90400000000000003</c:v>
                </c:pt>
              </c:numCache>
            </c:numRef>
          </c:xVal>
          <c:yVal>
            <c:numRef>
              <c:f>List1!$A$8</c:f>
              <c:numCache>
                <c:formatCode>0.0%</c:formatCode>
                <c:ptCount val="1"/>
                <c:pt idx="0">
                  <c:v>0.887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149-402E-9150-02BFAEF7D23C}"/>
            </c:ext>
          </c:extLst>
        </c:ser>
        <c:ser>
          <c:idx val="7"/>
          <c:order val="7"/>
          <c:tx>
            <c:strRef>
              <c:f>List1!$C$9</c:f>
              <c:strCache>
                <c:ptCount val="1"/>
                <c:pt idx="0">
                  <c:v>E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124250017857893E-2"/>
                  <c:y val="-6.9995590828924592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9</c:f>
              <c:numCache>
                <c:formatCode>0.0%</c:formatCode>
                <c:ptCount val="1"/>
                <c:pt idx="0">
                  <c:v>0.72099999999999997</c:v>
                </c:pt>
              </c:numCache>
            </c:numRef>
          </c:xVal>
          <c:yVal>
            <c:numRef>
              <c:f>List1!$A$9</c:f>
              <c:numCache>
                <c:formatCode>0.0%</c:formatCode>
                <c:ptCount val="1"/>
                <c:pt idx="0">
                  <c:v>0.674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9149-402E-9150-02BFAEF7D23C}"/>
            </c:ext>
          </c:extLst>
        </c:ser>
        <c:ser>
          <c:idx val="8"/>
          <c:order val="8"/>
          <c:tx>
            <c:strRef>
              <c:f>List1!$C$10</c:f>
              <c:strCache>
                <c:ptCount val="1"/>
                <c:pt idx="0">
                  <c:v>F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39274326297051E-2"/>
                  <c:y val="-1.1665931804820694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0</c:f>
              <c:numCache>
                <c:formatCode>0.0%</c:formatCode>
                <c:ptCount val="1"/>
                <c:pt idx="0">
                  <c:v>0.88700000000000001</c:v>
                </c:pt>
              </c:numCache>
            </c:numRef>
          </c:xVal>
          <c:yVal>
            <c:numRef>
              <c:f>List1!$A$10</c:f>
              <c:numCache>
                <c:formatCode>0.0%</c:formatCode>
                <c:ptCount val="1"/>
                <c:pt idx="0">
                  <c:v>0.836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9149-402E-9150-02BFAEF7D23C}"/>
            </c:ext>
          </c:extLst>
        </c:ser>
        <c:ser>
          <c:idx val="9"/>
          <c:order val="9"/>
          <c:tx>
            <c:strRef>
              <c:f>List1!$C$11</c:f>
              <c:strCache>
                <c:ptCount val="1"/>
                <c:pt idx="0">
                  <c:v>F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051377057258783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1</c:f>
              <c:numCache>
                <c:formatCode>0.0%</c:formatCode>
                <c:ptCount val="1"/>
                <c:pt idx="0">
                  <c:v>0.90500000000000003</c:v>
                </c:pt>
              </c:numCache>
            </c:numRef>
          </c:xVal>
          <c:yVal>
            <c:numRef>
              <c:f>List1!$A$11</c:f>
              <c:numCache>
                <c:formatCode>0.0%</c:formatCode>
                <c:ptCount val="1"/>
                <c:pt idx="0">
                  <c:v>0.820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9149-402E-9150-02BFAEF7D23C}"/>
            </c:ext>
          </c:extLst>
        </c:ser>
        <c:ser>
          <c:idx val="10"/>
          <c:order val="10"/>
          <c:tx>
            <c:strRef>
              <c:f>List1!$C$12</c:f>
              <c:strCache>
                <c:ptCount val="1"/>
                <c:pt idx="0">
                  <c:v>D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9157103540651198E-2"/>
                  <c:y val="2.6330099941211053E-2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2</c:f>
              <c:numCache>
                <c:formatCode>0.0%</c:formatCode>
                <c:ptCount val="1"/>
                <c:pt idx="0">
                  <c:v>0.84399999999999997</c:v>
                </c:pt>
              </c:numCache>
            </c:numRef>
          </c:xVal>
          <c:yVal>
            <c:numRef>
              <c:f>List1!$A$12</c:f>
              <c:numCache>
                <c:formatCode>0.0%</c:formatCode>
                <c:ptCount val="1"/>
                <c:pt idx="0">
                  <c:v>0.813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9149-402E-9150-02BFAEF7D23C}"/>
            </c:ext>
          </c:extLst>
        </c:ser>
        <c:ser>
          <c:idx val="11"/>
          <c:order val="11"/>
          <c:tx>
            <c:strRef>
              <c:f>List1!$C$13</c:f>
              <c:strCache>
                <c:ptCount val="1"/>
                <c:pt idx="0">
                  <c:v>E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195552404790586E-2"/>
                  <c:y val="-9.332745443856555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3</c:f>
              <c:numCache>
                <c:formatCode>0.0%</c:formatCode>
                <c:ptCount val="1"/>
                <c:pt idx="0">
                  <c:v>0.752</c:v>
                </c:pt>
              </c:numCache>
            </c:numRef>
          </c:xVal>
          <c:yVal>
            <c:numRef>
              <c:f>List1!$A$13</c:f>
              <c:numCache>
                <c:formatCode>0.0%</c:formatCode>
                <c:ptCount val="1"/>
                <c:pt idx="0">
                  <c:v>0.720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9149-402E-9150-02BFAEF7D23C}"/>
            </c:ext>
          </c:extLst>
        </c:ser>
        <c:ser>
          <c:idx val="12"/>
          <c:order val="12"/>
          <c:tx>
            <c:strRef>
              <c:f>List1!$C$14</c:f>
              <c:strCache>
                <c:ptCount val="1"/>
                <c:pt idx="0">
                  <c:v>H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  <a:lumOff val="20000"/>
                </a:schemeClr>
              </a:solidFill>
              <a:ln w="9525">
                <a:solidFill>
                  <a:schemeClr val="accent1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8351229155761853E-2"/>
                  <c:y val="1.6332304526748928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4</c:f>
              <c:numCache>
                <c:formatCode>0.0%</c:formatCode>
                <c:ptCount val="1"/>
                <c:pt idx="0">
                  <c:v>0.70299999999999996</c:v>
                </c:pt>
              </c:numCache>
            </c:numRef>
          </c:xVal>
          <c:yVal>
            <c:numRef>
              <c:f>List1!$A$14</c:f>
              <c:numCache>
                <c:formatCode>0.0%</c:formatCode>
                <c:ptCount val="1"/>
                <c:pt idx="0">
                  <c:v>0.678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9149-402E-9150-02BFAEF7D23C}"/>
            </c:ext>
          </c:extLst>
        </c:ser>
        <c:ser>
          <c:idx val="13"/>
          <c:order val="13"/>
          <c:tx>
            <c:strRef>
              <c:f>List1!$C$15</c:f>
              <c:strCache>
                <c:ptCount val="1"/>
                <c:pt idx="0">
                  <c:v>I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  <a:lumOff val="20000"/>
                </a:schemeClr>
              </a:solidFill>
              <a:ln w="9525">
                <a:solidFill>
                  <a:schemeClr val="accent2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0101599896128242E-2"/>
                  <c:y val="-6.9995590828924375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5</c:f>
              <c:numCache>
                <c:formatCode>0.0%</c:formatCode>
                <c:ptCount val="1"/>
                <c:pt idx="0">
                  <c:v>0.92400000000000004</c:v>
                </c:pt>
              </c:numCache>
            </c:numRef>
          </c:xVal>
          <c:yVal>
            <c:numRef>
              <c:f>List1!$A$15</c:f>
              <c:numCache>
                <c:formatCode>0.0%</c:formatCode>
                <c:ptCount val="1"/>
                <c:pt idx="0">
                  <c:v>0.914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9149-402E-9150-02BFAEF7D23C}"/>
            </c:ext>
          </c:extLst>
        </c:ser>
        <c:ser>
          <c:idx val="14"/>
          <c:order val="14"/>
          <c:tx>
            <c:strRef>
              <c:f>List1!$C$16</c:f>
              <c:strCache>
                <c:ptCount val="1"/>
                <c:pt idx="0">
                  <c:v>I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  <a:lumOff val="20000"/>
                </a:schemeClr>
              </a:solidFill>
              <a:ln w="9525">
                <a:solidFill>
                  <a:schemeClr val="accent3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1584699489494617E-2"/>
                  <c:y val="-2.7998236331569663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6</c:f>
              <c:numCache>
                <c:formatCode>0.0%</c:formatCode>
                <c:ptCount val="1"/>
                <c:pt idx="0">
                  <c:v>0.94099999999999995</c:v>
                </c:pt>
              </c:numCache>
            </c:numRef>
          </c:xVal>
          <c:yVal>
            <c:numRef>
              <c:f>List1!$A$16</c:f>
              <c:numCache>
                <c:formatCode>0.0%</c:formatCode>
                <c:ptCount val="1"/>
                <c:pt idx="0">
                  <c:v>0.928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9149-402E-9150-02BFAEF7D23C}"/>
            </c:ext>
          </c:extLst>
        </c:ser>
        <c:ser>
          <c:idx val="15"/>
          <c:order val="15"/>
          <c:tx>
            <c:strRef>
              <c:f>List1!$C$17</c:f>
              <c:strCache>
                <c:ptCount val="1"/>
                <c:pt idx="0">
                  <c:v>I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  <a:lumOff val="20000"/>
                </a:schemeClr>
              </a:solidFill>
              <a:ln w="9525">
                <a:solidFill>
                  <a:schemeClr val="accent4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2005289356393671E-2"/>
                  <c:y val="4.8332047325102878E-2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7</c:f>
              <c:numCache>
                <c:formatCode>0.0%</c:formatCode>
                <c:ptCount val="1"/>
                <c:pt idx="0">
                  <c:v>0.88100000000000001</c:v>
                </c:pt>
              </c:numCache>
            </c:numRef>
          </c:xVal>
          <c:yVal>
            <c:numRef>
              <c:f>List1!$A$17</c:f>
              <c:numCache>
                <c:formatCode>0.0%</c:formatCode>
                <c:ptCount val="1"/>
                <c:pt idx="0">
                  <c:v>0.822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9149-402E-9150-02BFAEF7D23C}"/>
            </c:ext>
          </c:extLst>
        </c:ser>
        <c:ser>
          <c:idx val="16"/>
          <c:order val="16"/>
          <c:tx>
            <c:strRef>
              <c:f>List1!$C$18</c:f>
              <c:strCache>
                <c:ptCount val="1"/>
                <c:pt idx="0">
                  <c:v>LV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  <a:lumOff val="20000"/>
                </a:schemeClr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6253773343027682E-2"/>
                  <c:y val="1.6332304526748928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8</c:f>
              <c:numCache>
                <c:formatCode>0.0%</c:formatCode>
                <c:ptCount val="1"/>
                <c:pt idx="0">
                  <c:v>0.72699999999999998</c:v>
                </c:pt>
              </c:numCache>
            </c:numRef>
          </c:xVal>
          <c:yVal>
            <c:numRef>
              <c:f>List1!$A$18</c:f>
              <c:numCache>
                <c:formatCode>0.0%</c:formatCode>
                <c:ptCount val="1"/>
                <c:pt idx="0">
                  <c:v>0.6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9149-402E-9150-02BFAEF7D23C}"/>
            </c:ext>
          </c:extLst>
        </c:ser>
        <c:ser>
          <c:idx val="28"/>
          <c:order val="17"/>
          <c:tx>
            <c:strRef>
              <c:f>List1!$C$19</c:f>
              <c:strCache>
                <c:ptCount val="1"/>
                <c:pt idx="0">
                  <c:v>LI</c:v>
                </c:pt>
              </c:strCache>
            </c:strRef>
          </c:tx>
          <c:spPr>
            <a:ln w="25400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3975323352821563E-3"/>
                  <c:y val="9.332745443856555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9</c:f>
              <c:numCache>
                <c:formatCode>0.0%</c:formatCode>
                <c:ptCount val="1"/>
                <c:pt idx="0">
                  <c:v>0.77200000000000002</c:v>
                </c:pt>
              </c:numCache>
            </c:numRef>
          </c:xVal>
          <c:yVal>
            <c:numRef>
              <c:f>List1!$A$19</c:f>
              <c:numCache>
                <c:formatCode>0.0%</c:formatCode>
                <c:ptCount val="1"/>
                <c:pt idx="0">
                  <c:v>0.714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0D-44E3-9271-C9D0012D0ABC}"/>
            </c:ext>
          </c:extLst>
        </c:ser>
        <c:ser>
          <c:idx val="17"/>
          <c:order val="18"/>
          <c:tx>
            <c:strRef>
              <c:f>List1!$C$20</c:f>
              <c:strCache>
                <c:ptCount val="1"/>
                <c:pt idx="0">
                  <c:v>L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  <a:lumOff val="20000"/>
                </a:schemeClr>
              </a:solidFill>
              <a:ln w="9525">
                <a:solidFill>
                  <a:schemeClr val="accent6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8041930462485863E-2"/>
                  <c:y val="-2.099867724867729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0</c:f>
              <c:numCache>
                <c:formatCode>0.0%</c:formatCode>
                <c:ptCount val="1"/>
                <c:pt idx="0">
                  <c:v>0.76100000000000001</c:v>
                </c:pt>
              </c:numCache>
            </c:numRef>
          </c:xVal>
          <c:yVal>
            <c:numRef>
              <c:f>List1!$A$20</c:f>
              <c:numCache>
                <c:formatCode>0.0%</c:formatCode>
                <c:ptCount val="1"/>
                <c:pt idx="0">
                  <c:v>0.721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9149-402E-9150-02BFAEF7D23C}"/>
            </c:ext>
          </c:extLst>
        </c:ser>
        <c:ser>
          <c:idx val="18"/>
          <c:order val="19"/>
          <c:tx>
            <c:strRef>
              <c:f>List1!$C$21</c:f>
              <c:strCache>
                <c:ptCount val="1"/>
                <c:pt idx="0">
                  <c:v>L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</a:schemeClr>
              </a:solidFill>
              <a:ln w="9525">
                <a:solidFill>
                  <a:schemeClr val="accent1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4782306702951744E-2"/>
                  <c:y val="-1.399911816578483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1</c:f>
              <c:numCache>
                <c:formatCode>0.0%</c:formatCode>
                <c:ptCount val="1"/>
                <c:pt idx="0">
                  <c:v>0.79500000000000004</c:v>
                </c:pt>
              </c:numCache>
            </c:numRef>
          </c:xVal>
          <c:yVal>
            <c:numRef>
              <c:f>List1!$A$21</c:f>
              <c:numCache>
                <c:formatCode>0.0%</c:formatCode>
                <c:ptCount val="1"/>
                <c:pt idx="0">
                  <c:v>0.767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9149-402E-9150-02BFAEF7D23C}"/>
            </c:ext>
          </c:extLst>
        </c:ser>
        <c:ser>
          <c:idx val="19"/>
          <c:order val="20"/>
          <c:tx>
            <c:strRef>
              <c:f>List1!$C$22</c:f>
              <c:strCache>
                <c:ptCount val="1"/>
                <c:pt idx="0">
                  <c:v>M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</a:schemeClr>
              </a:solidFill>
              <a:ln w="9525">
                <a:solidFill>
                  <a:schemeClr val="accent2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972442147993319E-2"/>
                  <c:y val="-2.63299162257495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2</c:f>
              <c:numCache>
                <c:formatCode>0.0%</c:formatCode>
                <c:ptCount val="1"/>
                <c:pt idx="0">
                  <c:v>0.93300000000000005</c:v>
                </c:pt>
              </c:numCache>
            </c:numRef>
          </c:xVal>
          <c:yVal>
            <c:numRef>
              <c:f>List1!$A$22</c:f>
              <c:numCache>
                <c:formatCode>0.0%</c:formatCode>
                <c:ptCount val="1"/>
                <c:pt idx="0">
                  <c:v>0.921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9149-402E-9150-02BFAEF7D23C}"/>
            </c:ext>
          </c:extLst>
        </c:ser>
        <c:ser>
          <c:idx val="20"/>
          <c:order val="21"/>
          <c:tx>
            <c:strRef>
              <c:f>List1!$C$23</c:f>
              <c:strCache>
                <c:ptCount val="1"/>
                <c:pt idx="0">
                  <c:v>N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</a:schemeClr>
              </a:solidFill>
              <a:ln w="9525">
                <a:solidFill>
                  <a:schemeClr val="accent3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325652839154918E-2"/>
                  <c:y val="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3</c:f>
              <c:numCache>
                <c:formatCode>0.0%</c:formatCode>
                <c:ptCount val="1"/>
                <c:pt idx="0">
                  <c:v>0.88500000000000001</c:v>
                </c:pt>
              </c:numCache>
            </c:numRef>
          </c:xVal>
          <c:yVal>
            <c:numRef>
              <c:f>List1!$A$23</c:f>
              <c:numCache>
                <c:formatCode>0.0%</c:formatCode>
                <c:ptCount val="1"/>
                <c:pt idx="0">
                  <c:v>0.806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9149-402E-9150-02BFAEF7D23C}"/>
            </c:ext>
          </c:extLst>
        </c:ser>
        <c:ser>
          <c:idx val="21"/>
          <c:order val="22"/>
          <c:tx>
            <c:strRef>
              <c:f>List1!$C$24</c:f>
              <c:strCache>
                <c:ptCount val="1"/>
                <c:pt idx="0">
                  <c:v>N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</a:schemeClr>
              </a:solidFill>
              <a:ln w="9525">
                <a:solidFill>
                  <a:schemeClr val="accent4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5710409316044701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4</c:f>
              <c:numCache>
                <c:formatCode>0.0%</c:formatCode>
                <c:ptCount val="1"/>
                <c:pt idx="0">
                  <c:v>0.92300000000000004</c:v>
                </c:pt>
              </c:numCache>
            </c:numRef>
          </c:xVal>
          <c:yVal>
            <c:numRef>
              <c:f>List1!$A$24</c:f>
              <c:numCache>
                <c:formatCode>0.0%</c:formatCode>
                <c:ptCount val="1"/>
                <c:pt idx="0">
                  <c:v>0.883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9149-402E-9150-02BFAEF7D23C}"/>
            </c:ext>
          </c:extLst>
        </c:ser>
        <c:ser>
          <c:idx val="22"/>
          <c:order val="23"/>
          <c:tx>
            <c:strRef>
              <c:f>List1!$C$25</c:f>
              <c:strCache>
                <c:ptCount val="1"/>
                <c:pt idx="0">
                  <c:v>P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</a:schemeClr>
              </a:solidFill>
              <a:ln w="25400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94923175544988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5</c:f>
              <c:numCache>
                <c:formatCode>0.0%</c:formatCode>
                <c:ptCount val="1"/>
                <c:pt idx="0">
                  <c:v>0.63400000000000001</c:v>
                </c:pt>
              </c:numCache>
            </c:numRef>
          </c:xVal>
          <c:yVal>
            <c:numRef>
              <c:f>List1!$A$25</c:f>
              <c:numCache>
                <c:formatCode>0.0%</c:formatCode>
                <c:ptCount val="1"/>
                <c:pt idx="0">
                  <c:v>0.62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9149-402E-9150-02BFAEF7D23C}"/>
            </c:ext>
          </c:extLst>
        </c:ser>
        <c:ser>
          <c:idx val="23"/>
          <c:order val="24"/>
          <c:tx>
            <c:strRef>
              <c:f>List1!$C$26</c:f>
              <c:strCache>
                <c:ptCount val="1"/>
                <c:pt idx="0">
                  <c:v>P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</a:schemeClr>
              </a:solidFill>
              <a:ln w="9525">
                <a:solidFill>
                  <a:schemeClr val="accent6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593084740072622E-2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6</c:f>
              <c:numCache>
                <c:formatCode>0.0%</c:formatCode>
                <c:ptCount val="1"/>
                <c:pt idx="0">
                  <c:v>0.99199999999999999</c:v>
                </c:pt>
              </c:numCache>
            </c:numRef>
          </c:xVal>
          <c:yVal>
            <c:numRef>
              <c:f>List1!$A$26</c:f>
              <c:numCache>
                <c:formatCode>0.0%</c:formatCode>
                <c:ptCount val="1"/>
                <c:pt idx="0">
                  <c:v>0.919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9149-402E-9150-02BFAEF7D23C}"/>
            </c:ext>
          </c:extLst>
        </c:ser>
        <c:ser>
          <c:idx val="24"/>
          <c:order val="25"/>
          <c:tx>
            <c:strRef>
              <c:f>List1!$C$27</c:f>
              <c:strCache>
                <c:ptCount val="1"/>
                <c:pt idx="0">
                  <c:v>R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1546595822263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7</c:f>
              <c:numCache>
                <c:formatCode>0.0%</c:formatCode>
                <c:ptCount val="1"/>
                <c:pt idx="0">
                  <c:v>0.47399999999999998</c:v>
                </c:pt>
              </c:numCache>
            </c:numRef>
          </c:xVal>
          <c:yVal>
            <c:numRef>
              <c:f>List1!$A$27</c:f>
              <c:numCache>
                <c:formatCode>0.0%</c:formatCode>
                <c:ptCount val="1"/>
                <c:pt idx="0">
                  <c:v>0.448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9149-402E-9150-02BFAEF7D23C}"/>
            </c:ext>
          </c:extLst>
        </c:ser>
        <c:ser>
          <c:idx val="25"/>
          <c:order val="26"/>
          <c:tx>
            <c:strRef>
              <c:f>List1!$C$28</c:f>
              <c:strCache>
                <c:ptCount val="1"/>
                <c:pt idx="0">
                  <c:v>S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67688199491670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8</c:f>
              <c:numCache>
                <c:formatCode>0.0%</c:formatCode>
                <c:ptCount val="1"/>
                <c:pt idx="0">
                  <c:v>0.56599999999999995</c:v>
                </c:pt>
              </c:numCache>
            </c:numRef>
          </c:xVal>
          <c:yVal>
            <c:numRef>
              <c:f>List1!$A$28</c:f>
              <c:numCache>
                <c:formatCode>0.0%</c:formatCode>
                <c:ptCount val="1"/>
                <c:pt idx="0">
                  <c:v>0.545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9149-402E-9150-02BFAEF7D23C}"/>
            </c:ext>
          </c:extLst>
        </c:ser>
        <c:ser>
          <c:idx val="26"/>
          <c:order val="27"/>
          <c:tx>
            <c:strRef>
              <c:f>List1!$C$29</c:f>
              <c:strCache>
                <c:ptCount val="1"/>
                <c:pt idx="0">
                  <c:v>S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245935997577379E-2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9</c:f>
              <c:numCache>
                <c:formatCode>0.0%</c:formatCode>
                <c:ptCount val="1"/>
                <c:pt idx="0">
                  <c:v>0.68300000000000005</c:v>
                </c:pt>
              </c:numCache>
            </c:numRef>
          </c:xVal>
          <c:yVal>
            <c:numRef>
              <c:f>List1!$A$29</c:f>
              <c:numCache>
                <c:formatCode>0.0%</c:formatCode>
                <c:ptCount val="1"/>
                <c:pt idx="0">
                  <c:v>0.643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9149-402E-9150-02BFAEF7D23C}"/>
            </c:ext>
          </c:extLst>
        </c:ser>
        <c:ser>
          <c:idx val="27"/>
          <c:order val="28"/>
          <c:tx>
            <c:strRef>
              <c:f>List1!$C$30</c:f>
              <c:strCache>
                <c:ptCount val="1"/>
                <c:pt idx="0">
                  <c:v>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  <a:lumOff val="40000"/>
                </a:schemeClr>
              </a:solidFill>
              <a:ln w="9525"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2863250904636667E-3"/>
                  <c:y val="-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0</c:f>
              <c:numCache>
                <c:formatCode>0.0%</c:formatCode>
                <c:ptCount val="1"/>
                <c:pt idx="0">
                  <c:v>0.91500000000000004</c:v>
                </c:pt>
              </c:numCache>
            </c:numRef>
          </c:xVal>
          <c:yVal>
            <c:numRef>
              <c:f>List1!$A$30</c:f>
              <c:numCache>
                <c:formatCode>0.0%</c:formatCode>
                <c:ptCount val="1"/>
                <c:pt idx="0">
                  <c:v>0.843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9-9149-402E-9150-02BFAEF7D23C}"/>
            </c:ext>
          </c:extLst>
        </c:ser>
        <c:ser>
          <c:idx val="30"/>
          <c:order val="29"/>
          <c:tx>
            <c:strRef>
              <c:f>List1!$C$31</c:f>
              <c:strCache>
                <c:ptCount val="1"/>
                <c:pt idx="0">
                  <c:v>S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50000"/>
                </a:schemeClr>
              </a:solidFill>
              <a:ln w="9525">
                <a:solidFill>
                  <a:schemeClr val="accent1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63837130234748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1</c:f>
              <c:numCache>
                <c:formatCode>0.0%</c:formatCode>
                <c:ptCount val="1"/>
                <c:pt idx="0">
                  <c:v>0.86099999999999999</c:v>
                </c:pt>
              </c:numCache>
            </c:numRef>
          </c:xVal>
          <c:yVal>
            <c:numRef>
              <c:f>List1!$A$31</c:f>
              <c:numCache>
                <c:formatCode>0.0%</c:formatCode>
                <c:ptCount val="1"/>
                <c:pt idx="0">
                  <c:v>0.828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8DBA-474B-976E-F746759762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9293520"/>
        <c:axId val="359288424"/>
      </c:scatterChart>
      <c:valAx>
        <c:axId val="359293520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8424"/>
        <c:crosses val="autoZero"/>
        <c:crossBetween val="midCat"/>
      </c:valAx>
      <c:valAx>
        <c:axId val="359288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5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9535243648902862"/>
          <c:h val="0.67139752351557902"/>
        </c:manualLayout>
      </c:layout>
      <c:lineChart>
        <c:grouping val="standard"/>
        <c:varyColors val="0"/>
        <c:ser>
          <c:idx val="2"/>
          <c:order val="0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C$2:$C$47</c:f>
              <c:numCache>
                <c:formatCode>0.00%</c:formatCode>
                <c:ptCount val="46"/>
                <c:pt idx="0">
                  <c:v>6.0000000000000001E-3</c:v>
                </c:pt>
                <c:pt idx="1">
                  <c:v>1.4E-2</c:v>
                </c:pt>
                <c:pt idx="2">
                  <c:v>2.3E-2</c:v>
                </c:pt>
                <c:pt idx="3">
                  <c:v>2.8000000000000001E-2</c:v>
                </c:pt>
                <c:pt idx="4">
                  <c:v>3.1E-2</c:v>
                </c:pt>
                <c:pt idx="5">
                  <c:v>3.4000000000000002E-2</c:v>
                </c:pt>
                <c:pt idx="6">
                  <c:v>0.04</c:v>
                </c:pt>
                <c:pt idx="7">
                  <c:v>4.9000000000000002E-2</c:v>
                </c:pt>
                <c:pt idx="8">
                  <c:v>6.8000000000000005E-2</c:v>
                </c:pt>
                <c:pt idx="9">
                  <c:v>9.2999999999999999E-2</c:v>
                </c:pt>
                <c:pt idx="10">
                  <c:v>0.11600000000000001</c:v>
                </c:pt>
                <c:pt idx="11">
                  <c:v>0.13200000000000001</c:v>
                </c:pt>
                <c:pt idx="12">
                  <c:v>0.14399999999999999</c:v>
                </c:pt>
                <c:pt idx="13">
                  <c:v>0.161</c:v>
                </c:pt>
                <c:pt idx="14">
                  <c:v>0.188</c:v>
                </c:pt>
                <c:pt idx="15">
                  <c:v>0.219</c:v>
                </c:pt>
                <c:pt idx="16">
                  <c:v>0.25600000000000001</c:v>
                </c:pt>
                <c:pt idx="17">
                  <c:v>0.30399999999999999</c:v>
                </c:pt>
                <c:pt idx="18">
                  <c:v>0.35599999999999998</c:v>
                </c:pt>
                <c:pt idx="19">
                  <c:v>0.40400000000000003</c:v>
                </c:pt>
                <c:pt idx="20">
                  <c:v>0.44400000000000001</c:v>
                </c:pt>
                <c:pt idx="21">
                  <c:v>0.48499999999999999</c:v>
                </c:pt>
                <c:pt idx="22">
                  <c:v>0.52400000000000002</c:v>
                </c:pt>
                <c:pt idx="23">
                  <c:v>0.55200000000000005</c:v>
                </c:pt>
                <c:pt idx="24">
                  <c:v>0.57199999999999995</c:v>
                </c:pt>
                <c:pt idx="25">
                  <c:v>0.58799999999999997</c:v>
                </c:pt>
                <c:pt idx="26">
                  <c:v>0.59799999999999998</c:v>
                </c:pt>
                <c:pt idx="27">
                  <c:v>0.61299999999999999</c:v>
                </c:pt>
                <c:pt idx="28">
                  <c:v>0.624</c:v>
                </c:pt>
                <c:pt idx="29">
                  <c:v>0.63500000000000001</c:v>
                </c:pt>
                <c:pt idx="30">
                  <c:v>0.64300000000000002</c:v>
                </c:pt>
                <c:pt idx="31">
                  <c:v>0.64800000000000002</c:v>
                </c:pt>
                <c:pt idx="32">
                  <c:v>0.65300000000000002</c:v>
                </c:pt>
                <c:pt idx="33">
                  <c:v>0.65800000000000003</c:v>
                </c:pt>
                <c:pt idx="34">
                  <c:v>0.66200000000000003</c:v>
                </c:pt>
                <c:pt idx="35">
                  <c:v>0.66500000000000004</c:v>
                </c:pt>
                <c:pt idx="36">
                  <c:v>0.66800000000000004</c:v>
                </c:pt>
                <c:pt idx="37">
                  <c:v>0.67</c:v>
                </c:pt>
                <c:pt idx="38">
                  <c:v>0.67200000000000004</c:v>
                </c:pt>
                <c:pt idx="39">
                  <c:v>0.67400000000000004</c:v>
                </c:pt>
                <c:pt idx="40">
                  <c:v>0.67600000000000005</c:v>
                </c:pt>
                <c:pt idx="41">
                  <c:v>0.68</c:v>
                </c:pt>
                <c:pt idx="42">
                  <c:v>0.68600000000000005</c:v>
                </c:pt>
                <c:pt idx="43">
                  <c:v>0.69599999999999995</c:v>
                </c:pt>
                <c:pt idx="44">
                  <c:v>0.70499999999999996</c:v>
                </c:pt>
                <c:pt idx="45">
                  <c:v>0.714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1"/>
          <c:tx>
            <c:strRef>
              <c:f>List1!$D$1</c:f>
              <c:strCache>
                <c:ptCount val="1"/>
                <c:pt idx="0">
                  <c:v>EE/EEU</c:v>
                </c:pt>
              </c:strCache>
            </c:strRef>
          </c:tx>
          <c:spPr>
            <a:ln w="28575" cap="rnd">
              <a:solidFill>
                <a:srgbClr val="66FFFF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D$2:$D$47</c:f>
              <c:numCache>
                <c:formatCode>0.00%</c:formatCode>
                <c:ptCount val="46"/>
                <c:pt idx="0">
                  <c:v>8.0000000000000002E-3</c:v>
                </c:pt>
                <c:pt idx="1">
                  <c:v>1.6E-2</c:v>
                </c:pt>
                <c:pt idx="2">
                  <c:v>2.3E-2</c:v>
                </c:pt>
                <c:pt idx="3">
                  <c:v>0.03</c:v>
                </c:pt>
                <c:pt idx="4">
                  <c:v>3.5000000000000003E-2</c:v>
                </c:pt>
                <c:pt idx="5">
                  <c:v>4.2000000000000003E-2</c:v>
                </c:pt>
                <c:pt idx="6">
                  <c:v>5.0999999999999997E-2</c:v>
                </c:pt>
                <c:pt idx="7">
                  <c:v>6.4000000000000001E-2</c:v>
                </c:pt>
                <c:pt idx="8">
                  <c:v>8.2000000000000003E-2</c:v>
                </c:pt>
                <c:pt idx="9">
                  <c:v>0.10100000000000001</c:v>
                </c:pt>
                <c:pt idx="10">
                  <c:v>0.115</c:v>
                </c:pt>
                <c:pt idx="11">
                  <c:v>0.13800000000000001</c:v>
                </c:pt>
                <c:pt idx="12">
                  <c:v>0.161</c:v>
                </c:pt>
                <c:pt idx="13">
                  <c:v>0.19400000000000001</c:v>
                </c:pt>
                <c:pt idx="14">
                  <c:v>0.23200000000000001</c:v>
                </c:pt>
                <c:pt idx="15">
                  <c:v>0.26700000000000002</c:v>
                </c:pt>
                <c:pt idx="16">
                  <c:v>0.307</c:v>
                </c:pt>
                <c:pt idx="17">
                  <c:v>0.34899999999999998</c:v>
                </c:pt>
                <c:pt idx="18">
                  <c:v>0.39200000000000002</c:v>
                </c:pt>
                <c:pt idx="19">
                  <c:v>0.432</c:v>
                </c:pt>
                <c:pt idx="20">
                  <c:v>0.46500000000000002</c:v>
                </c:pt>
                <c:pt idx="21">
                  <c:v>0.503</c:v>
                </c:pt>
                <c:pt idx="22">
                  <c:v>0.54300000000000004</c:v>
                </c:pt>
                <c:pt idx="23">
                  <c:v>0.57699999999999996</c:v>
                </c:pt>
                <c:pt idx="24">
                  <c:v>0.60599999999999998</c:v>
                </c:pt>
                <c:pt idx="25">
                  <c:v>0.63500000000000001</c:v>
                </c:pt>
                <c:pt idx="26">
                  <c:v>0.65700000000000003</c:v>
                </c:pt>
                <c:pt idx="27">
                  <c:v>0.67600000000000005</c:v>
                </c:pt>
                <c:pt idx="28">
                  <c:v>0.69499999999999995</c:v>
                </c:pt>
                <c:pt idx="29">
                  <c:v>0.71299999999999997</c:v>
                </c:pt>
                <c:pt idx="30">
                  <c:v>0.72799999999999998</c:v>
                </c:pt>
                <c:pt idx="31">
                  <c:v>0.74099999999999999</c:v>
                </c:pt>
                <c:pt idx="32">
                  <c:v>0.75</c:v>
                </c:pt>
                <c:pt idx="33">
                  <c:v>0.75900000000000001</c:v>
                </c:pt>
                <c:pt idx="34">
                  <c:v>0.76700000000000002</c:v>
                </c:pt>
                <c:pt idx="35">
                  <c:v>0.77300000000000002</c:v>
                </c:pt>
                <c:pt idx="36">
                  <c:v>0.77900000000000003</c:v>
                </c:pt>
                <c:pt idx="37">
                  <c:v>0.78400000000000003</c:v>
                </c:pt>
                <c:pt idx="38">
                  <c:v>0.78800000000000003</c:v>
                </c:pt>
                <c:pt idx="39">
                  <c:v>0.79200000000000004</c:v>
                </c:pt>
                <c:pt idx="40">
                  <c:v>0.79600000000000004</c:v>
                </c:pt>
                <c:pt idx="41">
                  <c:v>0.80100000000000005</c:v>
                </c:pt>
                <c:pt idx="42">
                  <c:v>0.80500000000000005</c:v>
                </c:pt>
                <c:pt idx="43">
                  <c:v>0.80900000000000005</c:v>
                </c:pt>
                <c:pt idx="44">
                  <c:v>0.81299999999999994</c:v>
                </c:pt>
                <c:pt idx="45">
                  <c:v>0.81699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2"/>
          <c:tx>
            <c:strRef>
              <c:f>List1!$F$1</c:f>
              <c:strCache>
                <c:ptCount val="1"/>
                <c:pt idx="0">
                  <c:v>Portuga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F$2:$F$47</c:f>
              <c:numCache>
                <c:formatCode>0.00%</c:formatCode>
                <c:ptCount val="46"/>
                <c:pt idx="0">
                  <c:v>0.01</c:v>
                </c:pt>
                <c:pt idx="1">
                  <c:v>1.6E-2</c:v>
                </c:pt>
                <c:pt idx="2">
                  <c:v>0.03</c:v>
                </c:pt>
                <c:pt idx="3">
                  <c:v>3.5000000000000003E-2</c:v>
                </c:pt>
                <c:pt idx="4">
                  <c:v>3.7999999999999999E-2</c:v>
                </c:pt>
                <c:pt idx="5">
                  <c:v>4.2999999999999997E-2</c:v>
                </c:pt>
                <c:pt idx="6">
                  <c:v>5.5E-2</c:v>
                </c:pt>
                <c:pt idx="7">
                  <c:v>7.4999999999999997E-2</c:v>
                </c:pt>
                <c:pt idx="8">
                  <c:v>9.1999999999999998E-2</c:v>
                </c:pt>
                <c:pt idx="9">
                  <c:v>0.10299999999999999</c:v>
                </c:pt>
                <c:pt idx="10">
                  <c:v>0.113</c:v>
                </c:pt>
                <c:pt idx="11">
                  <c:v>0.14299999999999999</c:v>
                </c:pt>
                <c:pt idx="12">
                  <c:v>0.159</c:v>
                </c:pt>
                <c:pt idx="13">
                  <c:v>0.189</c:v>
                </c:pt>
                <c:pt idx="14">
                  <c:v>0.23899999999999999</c:v>
                </c:pt>
                <c:pt idx="15">
                  <c:v>0.26300000000000001</c:v>
                </c:pt>
                <c:pt idx="16">
                  <c:v>0.30399999999999999</c:v>
                </c:pt>
                <c:pt idx="17">
                  <c:v>0.34899999999999998</c:v>
                </c:pt>
                <c:pt idx="18">
                  <c:v>0.38500000000000001</c:v>
                </c:pt>
                <c:pt idx="19">
                  <c:v>0.42299999999999999</c:v>
                </c:pt>
                <c:pt idx="20">
                  <c:v>0.45600000000000002</c:v>
                </c:pt>
                <c:pt idx="21">
                  <c:v>0.49</c:v>
                </c:pt>
                <c:pt idx="22">
                  <c:v>0.53500000000000003</c:v>
                </c:pt>
                <c:pt idx="23">
                  <c:v>0.57899999999999996</c:v>
                </c:pt>
                <c:pt idx="24">
                  <c:v>0.628</c:v>
                </c:pt>
                <c:pt idx="25">
                  <c:v>0.67700000000000005</c:v>
                </c:pt>
                <c:pt idx="26">
                  <c:v>0.73199999999999998</c:v>
                </c:pt>
                <c:pt idx="27">
                  <c:v>0.77400000000000002</c:v>
                </c:pt>
                <c:pt idx="28">
                  <c:v>0.80600000000000005</c:v>
                </c:pt>
                <c:pt idx="29">
                  <c:v>0.83099999999999996</c:v>
                </c:pt>
                <c:pt idx="30">
                  <c:v>0.85899999999999999</c:v>
                </c:pt>
                <c:pt idx="31">
                  <c:v>0.89600000000000002</c:v>
                </c:pt>
                <c:pt idx="32">
                  <c:v>0.93</c:v>
                </c:pt>
                <c:pt idx="33">
                  <c:v>0.95399999999999996</c:v>
                </c:pt>
                <c:pt idx="34">
                  <c:v>0.96599999999999997</c:v>
                </c:pt>
                <c:pt idx="35">
                  <c:v>0.97199999999999998</c:v>
                </c:pt>
                <c:pt idx="36">
                  <c:v>0.97599999999999998</c:v>
                </c:pt>
                <c:pt idx="37">
                  <c:v>0.97899999999999998</c:v>
                </c:pt>
                <c:pt idx="38">
                  <c:v>0.98199999999999998</c:v>
                </c:pt>
                <c:pt idx="39">
                  <c:v>0.98299999999999998</c:v>
                </c:pt>
                <c:pt idx="40">
                  <c:v>0.98499999999999999</c:v>
                </c:pt>
                <c:pt idx="41">
                  <c:v>0.98699999999999999</c:v>
                </c:pt>
                <c:pt idx="42">
                  <c:v>0.98799999999999999</c:v>
                </c:pt>
                <c:pt idx="43">
                  <c:v>0.98899999999999999</c:v>
                </c:pt>
                <c:pt idx="44">
                  <c:v>0.99</c:v>
                </c:pt>
                <c:pt idx="45">
                  <c:v>0.991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4"/>
          <c:order val="3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E$2:$E$47</c:f>
              <c:numCache>
                <c:formatCode>0.00%</c:formatCode>
                <c:ptCount val="46"/>
                <c:pt idx="0">
                  <c:v>0.01</c:v>
                </c:pt>
                <c:pt idx="1">
                  <c:v>1.7000000000000001E-2</c:v>
                </c:pt>
                <c:pt idx="2">
                  <c:v>2.3E-2</c:v>
                </c:pt>
                <c:pt idx="3">
                  <c:v>2.8000000000000001E-2</c:v>
                </c:pt>
                <c:pt idx="4">
                  <c:v>3.4000000000000002E-2</c:v>
                </c:pt>
                <c:pt idx="5">
                  <c:v>0.04</c:v>
                </c:pt>
                <c:pt idx="6">
                  <c:v>4.8000000000000001E-2</c:v>
                </c:pt>
                <c:pt idx="7">
                  <c:v>0.06</c:v>
                </c:pt>
                <c:pt idx="8">
                  <c:v>7.5999999999999998E-2</c:v>
                </c:pt>
                <c:pt idx="9">
                  <c:v>9.7000000000000003E-2</c:v>
                </c:pt>
                <c:pt idx="10">
                  <c:v>0.111</c:v>
                </c:pt>
                <c:pt idx="11">
                  <c:v>0.13300000000000001</c:v>
                </c:pt>
                <c:pt idx="12">
                  <c:v>0.154</c:v>
                </c:pt>
                <c:pt idx="13">
                  <c:v>0.193</c:v>
                </c:pt>
                <c:pt idx="14">
                  <c:v>0.23899999999999999</c:v>
                </c:pt>
                <c:pt idx="15">
                  <c:v>0.28299999999999997</c:v>
                </c:pt>
                <c:pt idx="16">
                  <c:v>0.34100000000000003</c:v>
                </c:pt>
                <c:pt idx="17">
                  <c:v>0.39600000000000002</c:v>
                </c:pt>
                <c:pt idx="18">
                  <c:v>0.44600000000000001</c:v>
                </c:pt>
                <c:pt idx="19">
                  <c:v>0.48499999999999999</c:v>
                </c:pt>
                <c:pt idx="20">
                  <c:v>0.51700000000000002</c:v>
                </c:pt>
                <c:pt idx="21">
                  <c:v>0.54800000000000004</c:v>
                </c:pt>
                <c:pt idx="22">
                  <c:v>0.58299999999999996</c:v>
                </c:pt>
                <c:pt idx="23">
                  <c:v>0.61699999999999999</c:v>
                </c:pt>
                <c:pt idx="24">
                  <c:v>0.65100000000000002</c:v>
                </c:pt>
                <c:pt idx="25">
                  <c:v>0.68400000000000005</c:v>
                </c:pt>
                <c:pt idx="26">
                  <c:v>0.70699999999999996</c:v>
                </c:pt>
                <c:pt idx="27">
                  <c:v>0.72299999999999998</c:v>
                </c:pt>
                <c:pt idx="28">
                  <c:v>0.73399999999999999</c:v>
                </c:pt>
                <c:pt idx="29">
                  <c:v>0.74399999999999999</c:v>
                </c:pt>
                <c:pt idx="30">
                  <c:v>0.752</c:v>
                </c:pt>
                <c:pt idx="31">
                  <c:v>0.76100000000000001</c:v>
                </c:pt>
                <c:pt idx="32">
                  <c:v>0.77100000000000002</c:v>
                </c:pt>
                <c:pt idx="33">
                  <c:v>0.78100000000000003</c:v>
                </c:pt>
                <c:pt idx="34">
                  <c:v>0.79</c:v>
                </c:pt>
                <c:pt idx="35">
                  <c:v>0.79800000000000004</c:v>
                </c:pt>
                <c:pt idx="36">
                  <c:v>0.80500000000000005</c:v>
                </c:pt>
                <c:pt idx="37">
                  <c:v>0.81200000000000006</c:v>
                </c:pt>
                <c:pt idx="38">
                  <c:v>0.81699999999999995</c:v>
                </c:pt>
                <c:pt idx="39">
                  <c:v>0.82099999999999995</c:v>
                </c:pt>
                <c:pt idx="40">
                  <c:v>0.82399999999999995</c:v>
                </c:pt>
                <c:pt idx="41">
                  <c:v>0.82799999999999996</c:v>
                </c:pt>
                <c:pt idx="42">
                  <c:v>0.83099999999999996</c:v>
                </c:pt>
                <c:pt idx="43">
                  <c:v>0.83399999999999996</c:v>
                </c:pt>
                <c:pt idx="44">
                  <c:v>0.83899999999999997</c:v>
                </c:pt>
                <c:pt idx="45">
                  <c:v>0.843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1"/>
          <c:order val="4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B$2:$B$47</c:f>
              <c:numCache>
                <c:formatCode>0.00%</c:formatCode>
                <c:ptCount val="46"/>
                <c:pt idx="0">
                  <c:v>4.0000000000000001E-3</c:v>
                </c:pt>
                <c:pt idx="1">
                  <c:v>1.6E-2</c:v>
                </c:pt>
                <c:pt idx="2">
                  <c:v>2.8000000000000001E-2</c:v>
                </c:pt>
                <c:pt idx="3">
                  <c:v>3.3000000000000002E-2</c:v>
                </c:pt>
                <c:pt idx="4">
                  <c:v>3.5000000000000003E-2</c:v>
                </c:pt>
                <c:pt idx="5">
                  <c:v>3.9E-2</c:v>
                </c:pt>
                <c:pt idx="6">
                  <c:v>4.8000000000000001E-2</c:v>
                </c:pt>
                <c:pt idx="7">
                  <c:v>6.2E-2</c:v>
                </c:pt>
                <c:pt idx="8">
                  <c:v>8.3000000000000004E-2</c:v>
                </c:pt>
                <c:pt idx="9">
                  <c:v>0.114</c:v>
                </c:pt>
                <c:pt idx="10">
                  <c:v>0.14000000000000001</c:v>
                </c:pt>
                <c:pt idx="11">
                  <c:v>0.161</c:v>
                </c:pt>
                <c:pt idx="12">
                  <c:v>0.18</c:v>
                </c:pt>
                <c:pt idx="13">
                  <c:v>0.20899999999999999</c:v>
                </c:pt>
                <c:pt idx="14">
                  <c:v>0.247</c:v>
                </c:pt>
                <c:pt idx="15">
                  <c:v>0.28599999999999998</c:v>
                </c:pt>
                <c:pt idx="16">
                  <c:v>0.32500000000000001</c:v>
                </c:pt>
                <c:pt idx="17">
                  <c:v>0.371</c:v>
                </c:pt>
                <c:pt idx="18">
                  <c:v>0.41399999999999998</c:v>
                </c:pt>
                <c:pt idx="19">
                  <c:v>0.46200000000000002</c:v>
                </c:pt>
                <c:pt idx="20">
                  <c:v>0.497</c:v>
                </c:pt>
                <c:pt idx="21">
                  <c:v>0.53800000000000003</c:v>
                </c:pt>
                <c:pt idx="22">
                  <c:v>0.57599999999999996</c:v>
                </c:pt>
                <c:pt idx="23">
                  <c:v>0.60799999999999998</c:v>
                </c:pt>
                <c:pt idx="24">
                  <c:v>0.63400000000000001</c:v>
                </c:pt>
                <c:pt idx="25">
                  <c:v>0.65700000000000003</c:v>
                </c:pt>
                <c:pt idx="26">
                  <c:v>0.67500000000000004</c:v>
                </c:pt>
                <c:pt idx="27">
                  <c:v>0.68700000000000006</c:v>
                </c:pt>
                <c:pt idx="28">
                  <c:v>0.69699999999999995</c:v>
                </c:pt>
                <c:pt idx="29">
                  <c:v>0.70399999999999996</c:v>
                </c:pt>
                <c:pt idx="30">
                  <c:v>0.71</c:v>
                </c:pt>
                <c:pt idx="31">
                  <c:v>0.71399999999999997</c:v>
                </c:pt>
                <c:pt idx="32">
                  <c:v>0.71899999999999997</c:v>
                </c:pt>
                <c:pt idx="33">
                  <c:v>0.72399999999999998</c:v>
                </c:pt>
                <c:pt idx="34">
                  <c:v>0.73</c:v>
                </c:pt>
                <c:pt idx="35">
                  <c:v>0.73599999999999999</c:v>
                </c:pt>
                <c:pt idx="36">
                  <c:v>0.74199999999999999</c:v>
                </c:pt>
                <c:pt idx="37">
                  <c:v>0.748</c:v>
                </c:pt>
                <c:pt idx="38">
                  <c:v>0.753</c:v>
                </c:pt>
                <c:pt idx="39">
                  <c:v>0.75700000000000001</c:v>
                </c:pt>
                <c:pt idx="40">
                  <c:v>0.76</c:v>
                </c:pt>
                <c:pt idx="41">
                  <c:v>0.76400000000000001</c:v>
                </c:pt>
                <c:pt idx="42">
                  <c:v>0.77</c:v>
                </c:pt>
                <c:pt idx="43">
                  <c:v>0.77900000000000003</c:v>
                </c:pt>
                <c:pt idx="44">
                  <c:v>0.79400000000000004</c:v>
                </c:pt>
                <c:pt idx="45">
                  <c:v>0.80600000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1"/>
        <c:noMultiLvlLbl val="1"/>
      </c:catAx>
      <c:valAx>
        <c:axId val="35979862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9535243648902862"/>
          <c:h val="0.67139752351557902"/>
        </c:manualLayout>
      </c:layout>
      <c:lineChart>
        <c:grouping val="standard"/>
        <c:varyColors val="0"/>
        <c:ser>
          <c:idx val="2"/>
          <c:order val="0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C$2:$C$47</c:f>
              <c:numCache>
                <c:formatCode>0.0%</c:formatCode>
                <c:ptCount val="46"/>
                <c:pt idx="0">
                  <c:v>0</c:v>
                </c:pt>
                <c:pt idx="1">
                  <c:v>0</c:v>
                </c:pt>
                <c:pt idx="2">
                  <c:v>1E-3</c:v>
                </c:pt>
                <c:pt idx="3">
                  <c:v>5.0000000000000001E-3</c:v>
                </c:pt>
                <c:pt idx="4">
                  <c:v>1.0999999999999999E-2</c:v>
                </c:pt>
                <c:pt idx="5">
                  <c:v>0.02</c:v>
                </c:pt>
                <c:pt idx="6">
                  <c:v>2.5000000000000001E-2</c:v>
                </c:pt>
                <c:pt idx="7">
                  <c:v>2.8000000000000001E-2</c:v>
                </c:pt>
                <c:pt idx="8">
                  <c:v>3.1E-2</c:v>
                </c:pt>
                <c:pt idx="9">
                  <c:v>3.5000000000000003E-2</c:v>
                </c:pt>
                <c:pt idx="10">
                  <c:v>4.2000000000000003E-2</c:v>
                </c:pt>
                <c:pt idx="11">
                  <c:v>5.1999999999999998E-2</c:v>
                </c:pt>
                <c:pt idx="12">
                  <c:v>6.7000000000000004E-2</c:v>
                </c:pt>
                <c:pt idx="13">
                  <c:v>8.4000000000000005E-2</c:v>
                </c:pt>
                <c:pt idx="14">
                  <c:v>0.10100000000000001</c:v>
                </c:pt>
                <c:pt idx="15">
                  <c:v>0.11</c:v>
                </c:pt>
                <c:pt idx="16">
                  <c:v>0.11799999999999999</c:v>
                </c:pt>
                <c:pt idx="17">
                  <c:v>0.123</c:v>
                </c:pt>
                <c:pt idx="18">
                  <c:v>0.128</c:v>
                </c:pt>
                <c:pt idx="19">
                  <c:v>0.14099999999999999</c:v>
                </c:pt>
                <c:pt idx="20">
                  <c:v>0.16800000000000001</c:v>
                </c:pt>
                <c:pt idx="21">
                  <c:v>0.20200000000000001</c:v>
                </c:pt>
                <c:pt idx="22">
                  <c:v>0.24299999999999999</c:v>
                </c:pt>
                <c:pt idx="23">
                  <c:v>0.29399999999999998</c:v>
                </c:pt>
                <c:pt idx="24">
                  <c:v>0.34899999999999998</c:v>
                </c:pt>
                <c:pt idx="25">
                  <c:v>0.40600000000000003</c:v>
                </c:pt>
                <c:pt idx="26">
                  <c:v>0.443</c:v>
                </c:pt>
                <c:pt idx="27">
                  <c:v>0.48899999999999999</c:v>
                </c:pt>
                <c:pt idx="28">
                  <c:v>0.52900000000000003</c:v>
                </c:pt>
                <c:pt idx="29">
                  <c:v>0.55800000000000005</c:v>
                </c:pt>
                <c:pt idx="30">
                  <c:v>0.58199999999999996</c:v>
                </c:pt>
                <c:pt idx="31">
                  <c:v>0.60299999999999998</c:v>
                </c:pt>
                <c:pt idx="32">
                  <c:v>0.622</c:v>
                </c:pt>
                <c:pt idx="33">
                  <c:v>0.63700000000000001</c:v>
                </c:pt>
                <c:pt idx="34">
                  <c:v>0.64500000000000002</c:v>
                </c:pt>
                <c:pt idx="35">
                  <c:v>0.65</c:v>
                </c:pt>
                <c:pt idx="36">
                  <c:v>0.65400000000000003</c:v>
                </c:pt>
                <c:pt idx="37">
                  <c:v>0.65800000000000003</c:v>
                </c:pt>
                <c:pt idx="38">
                  <c:v>0.66100000000000003</c:v>
                </c:pt>
                <c:pt idx="39">
                  <c:v>0.66300000000000003</c:v>
                </c:pt>
                <c:pt idx="40">
                  <c:v>0.66600000000000004</c:v>
                </c:pt>
                <c:pt idx="41">
                  <c:v>0.66900000000000004</c:v>
                </c:pt>
                <c:pt idx="42">
                  <c:v>0.67200000000000004</c:v>
                </c:pt>
                <c:pt idx="43">
                  <c:v>0.67700000000000005</c:v>
                </c:pt>
                <c:pt idx="44">
                  <c:v>0.68300000000000005</c:v>
                </c:pt>
                <c:pt idx="45">
                  <c:v>0.68899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1"/>
          <c:tx>
            <c:strRef>
              <c:f>List1!$D$1</c:f>
              <c:strCache>
                <c:ptCount val="1"/>
                <c:pt idx="0">
                  <c:v>EE/EEU</c:v>
                </c:pt>
              </c:strCache>
            </c:strRef>
          </c:tx>
          <c:spPr>
            <a:ln w="28575" cap="rnd">
              <a:solidFill>
                <a:srgbClr val="66FFFF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D$2:$D$47</c:f>
              <c:numCache>
                <c:formatCode>0.0%</c:formatCode>
                <c:ptCount val="46"/>
                <c:pt idx="0">
                  <c:v>0</c:v>
                </c:pt>
                <c:pt idx="1">
                  <c:v>0</c:v>
                </c:pt>
                <c:pt idx="2">
                  <c:v>2E-3</c:v>
                </c:pt>
                <c:pt idx="3">
                  <c:v>7.0000000000000001E-3</c:v>
                </c:pt>
                <c:pt idx="4">
                  <c:v>1.4E-2</c:v>
                </c:pt>
                <c:pt idx="5">
                  <c:v>2.1000000000000001E-2</c:v>
                </c:pt>
                <c:pt idx="6">
                  <c:v>2.7E-2</c:v>
                </c:pt>
                <c:pt idx="7">
                  <c:v>3.2000000000000001E-2</c:v>
                </c:pt>
                <c:pt idx="8">
                  <c:v>3.6999999999999998E-2</c:v>
                </c:pt>
                <c:pt idx="9">
                  <c:v>4.2999999999999997E-2</c:v>
                </c:pt>
                <c:pt idx="10">
                  <c:v>0.05</c:v>
                </c:pt>
                <c:pt idx="11">
                  <c:v>5.8000000000000003E-2</c:v>
                </c:pt>
                <c:pt idx="12">
                  <c:v>6.7000000000000004E-2</c:v>
                </c:pt>
                <c:pt idx="13">
                  <c:v>7.5999999999999998E-2</c:v>
                </c:pt>
                <c:pt idx="14">
                  <c:v>8.5000000000000006E-2</c:v>
                </c:pt>
                <c:pt idx="15">
                  <c:v>9.7000000000000003E-2</c:v>
                </c:pt>
                <c:pt idx="16">
                  <c:v>0.114</c:v>
                </c:pt>
                <c:pt idx="17">
                  <c:v>0.13700000000000001</c:v>
                </c:pt>
                <c:pt idx="18">
                  <c:v>0.161</c:v>
                </c:pt>
                <c:pt idx="19">
                  <c:v>0.19</c:v>
                </c:pt>
                <c:pt idx="20">
                  <c:v>0.224</c:v>
                </c:pt>
                <c:pt idx="21">
                  <c:v>0.26</c:v>
                </c:pt>
                <c:pt idx="22">
                  <c:v>0.30099999999999999</c:v>
                </c:pt>
                <c:pt idx="23">
                  <c:v>0.34499999999999997</c:v>
                </c:pt>
                <c:pt idx="24">
                  <c:v>0.39</c:v>
                </c:pt>
                <c:pt idx="25">
                  <c:v>0.435</c:v>
                </c:pt>
                <c:pt idx="26">
                  <c:v>0.48</c:v>
                </c:pt>
                <c:pt idx="27">
                  <c:v>0.52400000000000002</c:v>
                </c:pt>
                <c:pt idx="28">
                  <c:v>0.56200000000000006</c:v>
                </c:pt>
                <c:pt idx="29">
                  <c:v>0.59399999999999997</c:v>
                </c:pt>
                <c:pt idx="30">
                  <c:v>0.621</c:v>
                </c:pt>
                <c:pt idx="31">
                  <c:v>0.64500000000000002</c:v>
                </c:pt>
                <c:pt idx="32">
                  <c:v>0.66500000000000004</c:v>
                </c:pt>
                <c:pt idx="33">
                  <c:v>0.68400000000000005</c:v>
                </c:pt>
                <c:pt idx="34">
                  <c:v>0.69899999999999995</c:v>
                </c:pt>
                <c:pt idx="35">
                  <c:v>0.71</c:v>
                </c:pt>
                <c:pt idx="36">
                  <c:v>0.72</c:v>
                </c:pt>
                <c:pt idx="37">
                  <c:v>0.72899999999999998</c:v>
                </c:pt>
                <c:pt idx="38">
                  <c:v>0.73499999999999999</c:v>
                </c:pt>
                <c:pt idx="39">
                  <c:v>0.74099999999999999</c:v>
                </c:pt>
                <c:pt idx="40">
                  <c:v>0.746</c:v>
                </c:pt>
                <c:pt idx="41">
                  <c:v>0.751</c:v>
                </c:pt>
                <c:pt idx="42">
                  <c:v>0.75600000000000001</c:v>
                </c:pt>
                <c:pt idx="43">
                  <c:v>0.76</c:v>
                </c:pt>
                <c:pt idx="44">
                  <c:v>0.76500000000000001</c:v>
                </c:pt>
                <c:pt idx="45">
                  <c:v>0.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2"/>
          <c:tx>
            <c:strRef>
              <c:f>List1!$F$1</c:f>
              <c:strCache>
                <c:ptCount val="1"/>
                <c:pt idx="0">
                  <c:v>Portuga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F$2:$F$47</c:f>
              <c:numCache>
                <c:formatCode>0.0%</c:formatCode>
                <c:ptCount val="46"/>
                <c:pt idx="0">
                  <c:v>0</c:v>
                </c:pt>
                <c:pt idx="1">
                  <c:v>0</c:v>
                </c:pt>
                <c:pt idx="2">
                  <c:v>4.0000000000000001E-3</c:v>
                </c:pt>
                <c:pt idx="3">
                  <c:v>8.9999999999999993E-3</c:v>
                </c:pt>
                <c:pt idx="4">
                  <c:v>1.4E-2</c:v>
                </c:pt>
                <c:pt idx="5">
                  <c:v>2.5000000000000001E-2</c:v>
                </c:pt>
                <c:pt idx="6">
                  <c:v>3.1E-2</c:v>
                </c:pt>
                <c:pt idx="7">
                  <c:v>3.4000000000000002E-2</c:v>
                </c:pt>
                <c:pt idx="8">
                  <c:v>3.7999999999999999E-2</c:v>
                </c:pt>
                <c:pt idx="9">
                  <c:v>4.3999999999999997E-2</c:v>
                </c:pt>
                <c:pt idx="10">
                  <c:v>5.7000000000000002E-2</c:v>
                </c:pt>
                <c:pt idx="11">
                  <c:v>5.8999999999999997E-2</c:v>
                </c:pt>
                <c:pt idx="12">
                  <c:v>6.9000000000000006E-2</c:v>
                </c:pt>
                <c:pt idx="13">
                  <c:v>7.4999999999999997E-2</c:v>
                </c:pt>
                <c:pt idx="14">
                  <c:v>8.2000000000000003E-2</c:v>
                </c:pt>
                <c:pt idx="15">
                  <c:v>9.8000000000000004E-2</c:v>
                </c:pt>
                <c:pt idx="16">
                  <c:v>0.109</c:v>
                </c:pt>
                <c:pt idx="17">
                  <c:v>0.13500000000000001</c:v>
                </c:pt>
                <c:pt idx="18">
                  <c:v>0.17</c:v>
                </c:pt>
                <c:pt idx="19">
                  <c:v>0.19600000000000001</c:v>
                </c:pt>
                <c:pt idx="20">
                  <c:v>0.23499999999999999</c:v>
                </c:pt>
                <c:pt idx="21">
                  <c:v>0.27400000000000002</c:v>
                </c:pt>
                <c:pt idx="22">
                  <c:v>0.30399999999999999</c:v>
                </c:pt>
                <c:pt idx="23">
                  <c:v>0.34899999999999998</c:v>
                </c:pt>
                <c:pt idx="24">
                  <c:v>0.39</c:v>
                </c:pt>
                <c:pt idx="25">
                  <c:v>0.44</c:v>
                </c:pt>
                <c:pt idx="26">
                  <c:v>0.51200000000000001</c:v>
                </c:pt>
                <c:pt idx="27">
                  <c:v>0.57299999999999995</c:v>
                </c:pt>
                <c:pt idx="28">
                  <c:v>0.63400000000000001</c:v>
                </c:pt>
                <c:pt idx="29">
                  <c:v>0.69299999999999995</c:v>
                </c:pt>
                <c:pt idx="30">
                  <c:v>0.752</c:v>
                </c:pt>
                <c:pt idx="31">
                  <c:v>0.79300000000000004</c:v>
                </c:pt>
                <c:pt idx="32">
                  <c:v>0.82099999999999995</c:v>
                </c:pt>
                <c:pt idx="33">
                  <c:v>0.83699999999999997</c:v>
                </c:pt>
                <c:pt idx="34">
                  <c:v>0.85899999999999999</c:v>
                </c:pt>
                <c:pt idx="35">
                  <c:v>0.876</c:v>
                </c:pt>
                <c:pt idx="36">
                  <c:v>0.89100000000000001</c:v>
                </c:pt>
                <c:pt idx="37">
                  <c:v>0.89900000000000002</c:v>
                </c:pt>
                <c:pt idx="38">
                  <c:v>0.90400000000000003</c:v>
                </c:pt>
                <c:pt idx="39">
                  <c:v>0.90700000000000003</c:v>
                </c:pt>
                <c:pt idx="40">
                  <c:v>0.91100000000000003</c:v>
                </c:pt>
                <c:pt idx="41">
                  <c:v>0.91400000000000003</c:v>
                </c:pt>
                <c:pt idx="42">
                  <c:v>0.91500000000000004</c:v>
                </c:pt>
                <c:pt idx="43">
                  <c:v>0.91700000000000004</c:v>
                </c:pt>
                <c:pt idx="44">
                  <c:v>0.91800000000000004</c:v>
                </c:pt>
                <c:pt idx="45">
                  <c:v>0.919000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4"/>
          <c:order val="3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E$2:$E$47</c:f>
              <c:numCache>
                <c:formatCode>0.0%</c:formatCode>
                <c:ptCount val="46"/>
                <c:pt idx="0">
                  <c:v>0</c:v>
                </c:pt>
                <c:pt idx="1">
                  <c:v>0</c:v>
                </c:pt>
                <c:pt idx="2">
                  <c:v>4.0000000000000001E-3</c:v>
                </c:pt>
                <c:pt idx="3">
                  <c:v>8.9999999999999993E-3</c:v>
                </c:pt>
                <c:pt idx="4">
                  <c:v>1.4999999999999999E-2</c:v>
                </c:pt>
                <c:pt idx="5">
                  <c:v>2.1000000000000001E-2</c:v>
                </c:pt>
                <c:pt idx="6">
                  <c:v>2.5999999999999999E-2</c:v>
                </c:pt>
                <c:pt idx="7">
                  <c:v>3.2000000000000001E-2</c:v>
                </c:pt>
                <c:pt idx="8">
                  <c:v>3.6999999999999998E-2</c:v>
                </c:pt>
                <c:pt idx="9">
                  <c:v>4.2999999999999997E-2</c:v>
                </c:pt>
                <c:pt idx="10">
                  <c:v>4.9000000000000002E-2</c:v>
                </c:pt>
                <c:pt idx="11">
                  <c:v>5.7000000000000002E-2</c:v>
                </c:pt>
                <c:pt idx="12">
                  <c:v>6.5000000000000002E-2</c:v>
                </c:pt>
                <c:pt idx="13">
                  <c:v>7.2999999999999995E-2</c:v>
                </c:pt>
                <c:pt idx="14">
                  <c:v>0.08</c:v>
                </c:pt>
                <c:pt idx="15">
                  <c:v>8.5999999999999993E-2</c:v>
                </c:pt>
                <c:pt idx="16">
                  <c:v>9.7000000000000003E-2</c:v>
                </c:pt>
                <c:pt idx="17">
                  <c:v>0.114</c:v>
                </c:pt>
                <c:pt idx="18">
                  <c:v>0.13600000000000001</c:v>
                </c:pt>
                <c:pt idx="19">
                  <c:v>0.17199999999999999</c:v>
                </c:pt>
                <c:pt idx="20">
                  <c:v>0.214</c:v>
                </c:pt>
                <c:pt idx="21">
                  <c:v>0.25900000000000001</c:v>
                </c:pt>
                <c:pt idx="22">
                  <c:v>0.31900000000000001</c:v>
                </c:pt>
                <c:pt idx="23">
                  <c:v>0.376</c:v>
                </c:pt>
                <c:pt idx="24">
                  <c:v>0.42699999999999999</c:v>
                </c:pt>
                <c:pt idx="25">
                  <c:v>0.46899999999999997</c:v>
                </c:pt>
                <c:pt idx="26">
                  <c:v>0.51300000000000001</c:v>
                </c:pt>
                <c:pt idx="27">
                  <c:v>0.55800000000000005</c:v>
                </c:pt>
                <c:pt idx="28">
                  <c:v>0.59499999999999997</c:v>
                </c:pt>
                <c:pt idx="29">
                  <c:v>0.63</c:v>
                </c:pt>
                <c:pt idx="30">
                  <c:v>0.66</c:v>
                </c:pt>
                <c:pt idx="31">
                  <c:v>0.68899999999999995</c:v>
                </c:pt>
                <c:pt idx="32">
                  <c:v>0.70799999999999996</c:v>
                </c:pt>
                <c:pt idx="33">
                  <c:v>0.72299999999999998</c:v>
                </c:pt>
                <c:pt idx="34">
                  <c:v>0.73499999999999999</c:v>
                </c:pt>
                <c:pt idx="35">
                  <c:v>0.746</c:v>
                </c:pt>
                <c:pt idx="36">
                  <c:v>0.75700000000000001</c:v>
                </c:pt>
                <c:pt idx="37">
                  <c:v>0.76700000000000002</c:v>
                </c:pt>
                <c:pt idx="38">
                  <c:v>0.77500000000000002</c:v>
                </c:pt>
                <c:pt idx="39">
                  <c:v>0.78200000000000003</c:v>
                </c:pt>
                <c:pt idx="40">
                  <c:v>0.78800000000000003</c:v>
                </c:pt>
                <c:pt idx="41">
                  <c:v>0.79300000000000004</c:v>
                </c:pt>
                <c:pt idx="42">
                  <c:v>0.79900000000000004</c:v>
                </c:pt>
                <c:pt idx="43">
                  <c:v>0.80300000000000005</c:v>
                </c:pt>
                <c:pt idx="44">
                  <c:v>0.80900000000000005</c:v>
                </c:pt>
                <c:pt idx="45">
                  <c:v>0.81399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1"/>
          <c:order val="4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B$2:$B$47</c:f>
              <c:numCache>
                <c:formatCode>0.0%</c:formatCode>
                <c:ptCount val="46"/>
                <c:pt idx="0">
                  <c:v>0</c:v>
                </c:pt>
                <c:pt idx="1">
                  <c:v>0</c:v>
                </c:pt>
                <c:pt idx="2">
                  <c:v>1E-3</c:v>
                </c:pt>
                <c:pt idx="3">
                  <c:v>3.0000000000000001E-3</c:v>
                </c:pt>
                <c:pt idx="4">
                  <c:v>1.4E-2</c:v>
                </c:pt>
                <c:pt idx="5">
                  <c:v>2.5999999999999999E-2</c:v>
                </c:pt>
                <c:pt idx="6">
                  <c:v>3.1E-2</c:v>
                </c:pt>
                <c:pt idx="7">
                  <c:v>3.4000000000000002E-2</c:v>
                </c:pt>
                <c:pt idx="8">
                  <c:v>3.5999999999999997E-2</c:v>
                </c:pt>
                <c:pt idx="9">
                  <c:v>0.04</c:v>
                </c:pt>
                <c:pt idx="10">
                  <c:v>4.7E-2</c:v>
                </c:pt>
                <c:pt idx="11">
                  <c:v>5.8999999999999997E-2</c:v>
                </c:pt>
                <c:pt idx="12">
                  <c:v>7.0000000000000007E-2</c:v>
                </c:pt>
                <c:pt idx="13">
                  <c:v>8.8999999999999996E-2</c:v>
                </c:pt>
                <c:pt idx="14">
                  <c:v>0.10199999999999999</c:v>
                </c:pt>
                <c:pt idx="15">
                  <c:v>0.11</c:v>
                </c:pt>
                <c:pt idx="16">
                  <c:v>0.12</c:v>
                </c:pt>
                <c:pt idx="17">
                  <c:v>0.13600000000000001</c:v>
                </c:pt>
                <c:pt idx="18">
                  <c:v>0.152</c:v>
                </c:pt>
                <c:pt idx="19">
                  <c:v>0.17699999999999999</c:v>
                </c:pt>
                <c:pt idx="20">
                  <c:v>0.21099999999999999</c:v>
                </c:pt>
                <c:pt idx="21">
                  <c:v>0.25</c:v>
                </c:pt>
                <c:pt idx="22">
                  <c:v>0.29899999999999999</c:v>
                </c:pt>
                <c:pt idx="23">
                  <c:v>0.34699999999999998</c:v>
                </c:pt>
                <c:pt idx="24">
                  <c:v>0.40200000000000002</c:v>
                </c:pt>
                <c:pt idx="25">
                  <c:v>0.46200000000000002</c:v>
                </c:pt>
                <c:pt idx="26">
                  <c:v>0.51100000000000001</c:v>
                </c:pt>
                <c:pt idx="27">
                  <c:v>0.55500000000000005</c:v>
                </c:pt>
                <c:pt idx="28">
                  <c:v>0.59299999999999997</c:v>
                </c:pt>
                <c:pt idx="29">
                  <c:v>0.625</c:v>
                </c:pt>
                <c:pt idx="30">
                  <c:v>0.65100000000000002</c:v>
                </c:pt>
                <c:pt idx="31">
                  <c:v>0.66900000000000004</c:v>
                </c:pt>
                <c:pt idx="32">
                  <c:v>0.68200000000000005</c:v>
                </c:pt>
                <c:pt idx="33">
                  <c:v>0.68899999999999995</c:v>
                </c:pt>
                <c:pt idx="34">
                  <c:v>0.69499999999999995</c:v>
                </c:pt>
                <c:pt idx="35">
                  <c:v>0.70099999999999996</c:v>
                </c:pt>
                <c:pt idx="36">
                  <c:v>0.70599999999999996</c:v>
                </c:pt>
                <c:pt idx="37">
                  <c:v>0.71099999999999997</c:v>
                </c:pt>
                <c:pt idx="38">
                  <c:v>0.71599999999999997</c:v>
                </c:pt>
                <c:pt idx="39">
                  <c:v>0.72</c:v>
                </c:pt>
                <c:pt idx="40">
                  <c:v>0.72499999999999998</c:v>
                </c:pt>
                <c:pt idx="41">
                  <c:v>0.72899999999999998</c:v>
                </c:pt>
                <c:pt idx="42">
                  <c:v>0.73299999999999998</c:v>
                </c:pt>
                <c:pt idx="43">
                  <c:v>0.73699999999999999</c:v>
                </c:pt>
                <c:pt idx="44">
                  <c:v>0.74199999999999999</c:v>
                </c:pt>
                <c:pt idx="45">
                  <c:v>0.7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1"/>
        <c:noMultiLvlLbl val="1"/>
      </c:catAx>
      <c:valAx>
        <c:axId val="35979862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833828720105065E-2"/>
          <c:y val="0.17197402263374487"/>
          <c:w val="0.87881422312393831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I$2:$I$47</c:f>
              <c:numCache>
                <c:formatCode>General</c:formatCode>
                <c:ptCount val="46"/>
                <c:pt idx="0">
                  <c:v>207.38662991519158</c:v>
                </c:pt>
                <c:pt idx="1">
                  <c:v>252.5767111827009</c:v>
                </c:pt>
                <c:pt idx="2">
                  <c:v>256.95078472962325</c:v>
                </c:pt>
                <c:pt idx="3">
                  <c:v>281.38137408396136</c:v>
                </c:pt>
                <c:pt idx="4">
                  <c:v>280.97347436827613</c:v>
                </c:pt>
                <c:pt idx="5">
                  <c:v>245.68580960282719</c:v>
                </c:pt>
                <c:pt idx="6">
                  <c:v>248.15056533164849</c:v>
                </c:pt>
                <c:pt idx="7">
                  <c:v>283.06504525083233</c:v>
                </c:pt>
                <c:pt idx="8">
                  <c:v>292.10826873474718</c:v>
                </c:pt>
                <c:pt idx="9">
                  <c:v>332.02168985041362</c:v>
                </c:pt>
                <c:pt idx="10">
                  <c:v>444.08128833823395</c:v>
                </c:pt>
                <c:pt idx="11">
                  <c:v>554.60475385421842</c:v>
                </c:pt>
                <c:pt idx="12">
                  <c:v>559.8033055498662</c:v>
                </c:pt>
                <c:pt idx="13">
                  <c:v>474.30926088571522</c:v>
                </c:pt>
                <c:pt idx="14">
                  <c:v>426.0729498265992</c:v>
                </c:pt>
                <c:pt idx="15">
                  <c:v>428.25998660006042</c:v>
                </c:pt>
                <c:pt idx="16">
                  <c:v>396.72152773197342</c:v>
                </c:pt>
                <c:pt idx="17">
                  <c:v>366.71920183572229</c:v>
                </c:pt>
                <c:pt idx="18">
                  <c:v>313.70959623135377</c:v>
                </c:pt>
                <c:pt idx="19">
                  <c:v>279.57620087412045</c:v>
                </c:pt>
                <c:pt idx="20">
                  <c:v>256.29988092799789</c:v>
                </c:pt>
                <c:pt idx="21">
                  <c:v>185.29929424670468</c:v>
                </c:pt>
                <c:pt idx="22">
                  <c:v>124.98220862942225</c:v>
                </c:pt>
                <c:pt idx="23">
                  <c:v>72.120141220088797</c:v>
                </c:pt>
                <c:pt idx="24">
                  <c:v>47.594085974845605</c:v>
                </c:pt>
                <c:pt idx="25">
                  <c:v>56.81088380586057</c:v>
                </c:pt>
                <c:pt idx="26">
                  <c:v>100.68180003540915</c:v>
                </c:pt>
                <c:pt idx="27">
                  <c:v>147.9894883375396</c:v>
                </c:pt>
                <c:pt idx="28">
                  <c:v>172.97551560259808</c:v>
                </c:pt>
                <c:pt idx="29">
                  <c:v>188.10251995237118</c:v>
                </c:pt>
                <c:pt idx="30">
                  <c:v>204.12343218970983</c:v>
                </c:pt>
                <c:pt idx="31">
                  <c:v>222.08837711456948</c:v>
                </c:pt>
                <c:pt idx="32">
                  <c:v>235.93093129580194</c:v>
                </c:pt>
                <c:pt idx="33">
                  <c:v>242.51807776825046</c:v>
                </c:pt>
                <c:pt idx="34">
                  <c:v>241.88453140133515</c:v>
                </c:pt>
                <c:pt idx="35">
                  <c:v>238.77755058824346</c:v>
                </c:pt>
                <c:pt idx="36">
                  <c:v>244.96547606236177</c:v>
                </c:pt>
                <c:pt idx="37">
                  <c:v>243.96742356653624</c:v>
                </c:pt>
                <c:pt idx="38">
                  <c:v>233.8480391306008</c:v>
                </c:pt>
                <c:pt idx="39">
                  <c:v>244.88736760616675</c:v>
                </c:pt>
                <c:pt idx="40">
                  <c:v>327.69100989026629</c:v>
                </c:pt>
                <c:pt idx="41">
                  <c:v>545.20570295874836</c:v>
                </c:pt>
                <c:pt idx="42">
                  <c:v>822.88994344947764</c:v>
                </c:pt>
                <c:pt idx="43">
                  <c:v>977.31036134707585</c:v>
                </c:pt>
                <c:pt idx="44">
                  <c:v>1139.394086669143</c:v>
                </c:pt>
                <c:pt idx="45">
                  <c:v>1610.0496075484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C$2:$C$47</c:f>
              <c:numCache>
                <c:formatCode>General</c:formatCode>
                <c:ptCount val="46"/>
                <c:pt idx="0">
                  <c:v>1509.0417104492553</c:v>
                </c:pt>
                <c:pt idx="1">
                  <c:v>1359.1250146461466</c:v>
                </c:pt>
                <c:pt idx="2">
                  <c:v>978.27376797268062</c:v>
                </c:pt>
                <c:pt idx="3">
                  <c:v>893.66509384427945</c:v>
                </c:pt>
                <c:pt idx="4">
                  <c:v>911.48827387176971</c:v>
                </c:pt>
                <c:pt idx="5">
                  <c:v>968.73565484149481</c:v>
                </c:pt>
                <c:pt idx="6">
                  <c:v>1120.5506221795356</c:v>
                </c:pt>
                <c:pt idx="7">
                  <c:v>1395.7812925620765</c:v>
                </c:pt>
                <c:pt idx="8">
                  <c:v>1573.7699644630479</c:v>
                </c:pt>
                <c:pt idx="9">
                  <c:v>1519.8422209066275</c:v>
                </c:pt>
                <c:pt idx="10">
                  <c:v>1329.369842113369</c:v>
                </c:pt>
                <c:pt idx="11">
                  <c:v>1070.1108356799118</c:v>
                </c:pt>
                <c:pt idx="12">
                  <c:v>808.71978042889521</c:v>
                </c:pt>
                <c:pt idx="13">
                  <c:v>602.34119532568866</c:v>
                </c:pt>
                <c:pt idx="14">
                  <c:v>457.33382245774919</c:v>
                </c:pt>
                <c:pt idx="15">
                  <c:v>364.73931635480625</c:v>
                </c:pt>
                <c:pt idx="16">
                  <c:v>298.131492988692</c:v>
                </c:pt>
                <c:pt idx="17">
                  <c:v>236.01219344901816</c:v>
                </c:pt>
                <c:pt idx="18">
                  <c:v>172.71465640490374</c:v>
                </c:pt>
                <c:pt idx="19">
                  <c:v>118.05752772668706</c:v>
                </c:pt>
                <c:pt idx="20">
                  <c:v>76.557384514723708</c:v>
                </c:pt>
                <c:pt idx="21">
                  <c:v>51.795694738860959</c:v>
                </c:pt>
                <c:pt idx="22">
                  <c:v>35.169454398421387</c:v>
                </c:pt>
                <c:pt idx="23">
                  <c:v>21.965713475642605</c:v>
                </c:pt>
                <c:pt idx="24">
                  <c:v>15.204874462066783</c:v>
                </c:pt>
                <c:pt idx="25">
                  <c:v>15.915557401253178</c:v>
                </c:pt>
                <c:pt idx="26">
                  <c:v>22.143384210439205</c:v>
                </c:pt>
                <c:pt idx="27">
                  <c:v>27.744687902184591</c:v>
                </c:pt>
                <c:pt idx="28">
                  <c:v>27.585719349998161</c:v>
                </c:pt>
                <c:pt idx="29">
                  <c:v>23.574101180117076</c:v>
                </c:pt>
                <c:pt idx="30">
                  <c:v>22.218192940879877</c:v>
                </c:pt>
                <c:pt idx="31">
                  <c:v>23.143950980083204</c:v>
                </c:pt>
                <c:pt idx="32">
                  <c:v>24.116464475811952</c:v>
                </c:pt>
                <c:pt idx="33">
                  <c:v>24.434401580184812</c:v>
                </c:pt>
                <c:pt idx="34">
                  <c:v>28.679797032693006</c:v>
                </c:pt>
                <c:pt idx="35">
                  <c:v>40.761406998861695</c:v>
                </c:pt>
                <c:pt idx="36">
                  <c:v>52.955230060691392</c:v>
                </c:pt>
                <c:pt idx="37">
                  <c:v>59.033439408996074</c:v>
                </c:pt>
                <c:pt idx="38">
                  <c:v>72.470957614401954</c:v>
                </c:pt>
                <c:pt idx="39">
                  <c:v>97.868521599010421</c:v>
                </c:pt>
                <c:pt idx="40">
                  <c:v>145.84897108539707</c:v>
                </c:pt>
                <c:pt idx="41">
                  <c:v>291.37065397511623</c:v>
                </c:pt>
                <c:pt idx="42">
                  <c:v>522.58573758462614</c:v>
                </c:pt>
                <c:pt idx="43">
                  <c:v>820.77333712114864</c:v>
                </c:pt>
                <c:pt idx="44">
                  <c:v>1217.8113228437155</c:v>
                </c:pt>
                <c:pt idx="45">
                  <c:v>1720.81587523549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D$2:$D$47</c:f>
              <c:numCache>
                <c:formatCode>General</c:formatCode>
                <c:ptCount val="46"/>
                <c:pt idx="0">
                  <c:v>317.12613637484463</c:v>
                </c:pt>
                <c:pt idx="1">
                  <c:v>362.97566246668015</c:v>
                </c:pt>
                <c:pt idx="2">
                  <c:v>376.20942868038333</c:v>
                </c:pt>
                <c:pt idx="3">
                  <c:v>396.43663650752393</c:v>
                </c:pt>
                <c:pt idx="4">
                  <c:v>395.01655787913694</c:v>
                </c:pt>
                <c:pt idx="5">
                  <c:v>365.74154782866412</c:v>
                </c:pt>
                <c:pt idx="6">
                  <c:v>349.0719637619701</c:v>
                </c:pt>
                <c:pt idx="7">
                  <c:v>372.95929056436773</c:v>
                </c:pt>
                <c:pt idx="8">
                  <c:v>382.60423882181249</c:v>
                </c:pt>
                <c:pt idx="9">
                  <c:v>403.56079665579205</c:v>
                </c:pt>
                <c:pt idx="10">
                  <c:v>490.68915643407922</c:v>
                </c:pt>
                <c:pt idx="11">
                  <c:v>611.57409239447475</c:v>
                </c:pt>
                <c:pt idx="12">
                  <c:v>699.38278272903938</c:v>
                </c:pt>
                <c:pt idx="13">
                  <c:v>669.25661676427183</c:v>
                </c:pt>
                <c:pt idx="14">
                  <c:v>610.40653820837406</c:v>
                </c:pt>
                <c:pt idx="15">
                  <c:v>576.07509756059005</c:v>
                </c:pt>
                <c:pt idx="16">
                  <c:v>488.57834918414403</c:v>
                </c:pt>
                <c:pt idx="17">
                  <c:v>380.09533421580232</c:v>
                </c:pt>
                <c:pt idx="18">
                  <c:v>287.59266013050228</c:v>
                </c:pt>
                <c:pt idx="19">
                  <c:v>251.36282985188282</c:v>
                </c:pt>
                <c:pt idx="20">
                  <c:v>220.51474106975533</c:v>
                </c:pt>
                <c:pt idx="21">
                  <c:v>166.35121907511407</c:v>
                </c:pt>
                <c:pt idx="22">
                  <c:v>115.78097135041872</c:v>
                </c:pt>
                <c:pt idx="23">
                  <c:v>68.722298811400137</c:v>
                </c:pt>
                <c:pt idx="24">
                  <c:v>44.292787177034612</c:v>
                </c:pt>
                <c:pt idx="25">
                  <c:v>42.040863326998242</c:v>
                </c:pt>
                <c:pt idx="26">
                  <c:v>61.03812857641455</c:v>
                </c:pt>
                <c:pt idx="27">
                  <c:v>113.08638700743325</c:v>
                </c:pt>
                <c:pt idx="28">
                  <c:v>256.63910525777283</c:v>
                </c:pt>
                <c:pt idx="29">
                  <c:v>407.94729476209642</c:v>
                </c:pt>
                <c:pt idx="30">
                  <c:v>461.21509770556889</c:v>
                </c:pt>
                <c:pt idx="31">
                  <c:v>481.07094605875898</c:v>
                </c:pt>
                <c:pt idx="32">
                  <c:v>468.31251997171256</c:v>
                </c:pt>
                <c:pt idx="33">
                  <c:v>407.52988671337596</c:v>
                </c:pt>
                <c:pt idx="34">
                  <c:v>327.14392954413574</c:v>
                </c:pt>
                <c:pt idx="35">
                  <c:v>246.32273907142545</c:v>
                </c:pt>
                <c:pt idx="36">
                  <c:v>180.59656849585866</c:v>
                </c:pt>
                <c:pt idx="37">
                  <c:v>134.72178995979453</c:v>
                </c:pt>
                <c:pt idx="38">
                  <c:v>108.57808299367311</c:v>
                </c:pt>
                <c:pt idx="39">
                  <c:v>93.043373479372079</c:v>
                </c:pt>
                <c:pt idx="40">
                  <c:v>91.963460129123774</c:v>
                </c:pt>
                <c:pt idx="41">
                  <c:v>102.03472906266373</c:v>
                </c:pt>
                <c:pt idx="42">
                  <c:v>112.43873608486344</c:v>
                </c:pt>
                <c:pt idx="43">
                  <c:v>132.15346783795226</c:v>
                </c:pt>
                <c:pt idx="44">
                  <c:v>173.5437093665891</c:v>
                </c:pt>
                <c:pt idx="45">
                  <c:v>280.18032503044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F$2:$F$47</c:f>
              <c:numCache>
                <c:formatCode>General</c:formatCode>
                <c:ptCount val="46"/>
                <c:pt idx="0">
                  <c:v>399.53731536677952</c:v>
                </c:pt>
                <c:pt idx="1">
                  <c:v>362.30987395887905</c:v>
                </c:pt>
                <c:pt idx="2">
                  <c:v>300.19371750081086</c:v>
                </c:pt>
                <c:pt idx="3">
                  <c:v>281.08956637701596</c:v>
                </c:pt>
                <c:pt idx="4">
                  <c:v>278.23584817333864</c:v>
                </c:pt>
                <c:pt idx="5">
                  <c:v>279.35084382871196</c:v>
                </c:pt>
                <c:pt idx="6">
                  <c:v>290.20402710274436</c:v>
                </c:pt>
                <c:pt idx="7">
                  <c:v>354.25004822146622</c:v>
                </c:pt>
                <c:pt idx="8">
                  <c:v>442.80082348046045</c:v>
                </c:pt>
                <c:pt idx="9">
                  <c:v>500.68167313330616</c:v>
                </c:pt>
                <c:pt idx="10">
                  <c:v>511.97582461389965</c:v>
                </c:pt>
                <c:pt idx="11">
                  <c:v>492.59166706236442</c:v>
                </c:pt>
                <c:pt idx="12">
                  <c:v>462.58067873826354</c:v>
                </c:pt>
                <c:pt idx="13">
                  <c:v>389.28438539293319</c:v>
                </c:pt>
                <c:pt idx="14">
                  <c:v>332.89075550898394</c:v>
                </c:pt>
                <c:pt idx="15">
                  <c:v>317.02093012836968</c:v>
                </c:pt>
                <c:pt idx="16">
                  <c:v>283.71860876442253</c:v>
                </c:pt>
                <c:pt idx="17">
                  <c:v>237.5091647612816</c:v>
                </c:pt>
                <c:pt idx="18">
                  <c:v>181.20439919272303</c:v>
                </c:pt>
                <c:pt idx="19">
                  <c:v>125.38084227543082</c:v>
                </c:pt>
                <c:pt idx="20">
                  <c:v>88.564188740562614</c:v>
                </c:pt>
                <c:pt idx="21">
                  <c:v>64.835739846061514</c:v>
                </c:pt>
                <c:pt idx="22">
                  <c:v>46.658795635682331</c:v>
                </c:pt>
                <c:pt idx="23">
                  <c:v>31.803364798678398</c:v>
                </c:pt>
                <c:pt idx="24">
                  <c:v>21.243601433954833</c:v>
                </c:pt>
                <c:pt idx="25">
                  <c:v>18.267485210965898</c:v>
                </c:pt>
                <c:pt idx="26">
                  <c:v>24.184507267826717</c:v>
                </c:pt>
                <c:pt idx="27">
                  <c:v>46.340225448432811</c:v>
                </c:pt>
                <c:pt idx="28">
                  <c:v>83.975101358973475</c:v>
                </c:pt>
                <c:pt idx="29">
                  <c:v>116.69393627469523</c:v>
                </c:pt>
                <c:pt idx="30">
                  <c:v>135.62203545290487</c:v>
                </c:pt>
                <c:pt idx="31">
                  <c:v>143.62653057884808</c:v>
                </c:pt>
                <c:pt idx="32">
                  <c:v>148.27765531269105</c:v>
                </c:pt>
                <c:pt idx="33">
                  <c:v>153.13165895525611</c:v>
                </c:pt>
                <c:pt idx="34">
                  <c:v>144.1630698415841</c:v>
                </c:pt>
                <c:pt idx="35">
                  <c:v>122.32089179263937</c:v>
                </c:pt>
                <c:pt idx="36">
                  <c:v>103.74992656118842</c:v>
                </c:pt>
                <c:pt idx="37">
                  <c:v>88.024296107434466</c:v>
                </c:pt>
                <c:pt idx="38">
                  <c:v>74.585664261092887</c:v>
                </c:pt>
                <c:pt idx="39">
                  <c:v>65.234790922721444</c:v>
                </c:pt>
                <c:pt idx="40">
                  <c:v>60.181261741826425</c:v>
                </c:pt>
                <c:pt idx="41">
                  <c:v>72.474717599265801</c:v>
                </c:pt>
                <c:pt idx="42">
                  <c:v>96.417782198861303</c:v>
                </c:pt>
                <c:pt idx="43">
                  <c:v>118.73613884348426</c:v>
                </c:pt>
                <c:pt idx="44">
                  <c:v>154.17958720278742</c:v>
                </c:pt>
                <c:pt idx="45">
                  <c:v>175.034197671258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K$2:$K$47</c:f>
              <c:numCache>
                <c:formatCode>General</c:formatCode>
                <c:ptCount val="46"/>
                <c:pt idx="0">
                  <c:v>276.21606206892739</c:v>
                </c:pt>
                <c:pt idx="1">
                  <c:v>244.14695247241269</c:v>
                </c:pt>
                <c:pt idx="2">
                  <c:v>171.55387067908924</c:v>
                </c:pt>
                <c:pt idx="3">
                  <c:v>163.80528594734278</c:v>
                </c:pt>
                <c:pt idx="4">
                  <c:v>176.40569255867683</c:v>
                </c:pt>
                <c:pt idx="5">
                  <c:v>205.91582437059895</c:v>
                </c:pt>
                <c:pt idx="6">
                  <c:v>285.44885391573757</c:v>
                </c:pt>
                <c:pt idx="7">
                  <c:v>451.28085026847765</c:v>
                </c:pt>
                <c:pt idx="8">
                  <c:v>646.56156296630968</c:v>
                </c:pt>
                <c:pt idx="9">
                  <c:v>934.26231733248892</c:v>
                </c:pt>
                <c:pt idx="10">
                  <c:v>1145.6236464287008</c:v>
                </c:pt>
                <c:pt idx="11">
                  <c:v>1196.7622584759997</c:v>
                </c:pt>
                <c:pt idx="12">
                  <c:v>1118.0992813776227</c:v>
                </c:pt>
                <c:pt idx="13">
                  <c:v>861.53616869436655</c:v>
                </c:pt>
                <c:pt idx="14">
                  <c:v>648.58827337170703</c:v>
                </c:pt>
                <c:pt idx="15">
                  <c:v>473.25735148255916</c:v>
                </c:pt>
                <c:pt idx="16">
                  <c:v>317.30300937834653</c:v>
                </c:pt>
                <c:pt idx="17">
                  <c:v>214.86201070553477</c:v>
                </c:pt>
                <c:pt idx="18">
                  <c:v>148.13410599449759</c:v>
                </c:pt>
                <c:pt idx="19">
                  <c:v>102.05203404955367</c:v>
                </c:pt>
                <c:pt idx="20">
                  <c:v>61.057209940379906</c:v>
                </c:pt>
                <c:pt idx="21">
                  <c:v>38.313015390920711</c:v>
                </c:pt>
                <c:pt idx="22">
                  <c:v>25.661429223894796</c:v>
                </c:pt>
                <c:pt idx="23">
                  <c:v>15.77353906422891</c:v>
                </c:pt>
                <c:pt idx="24">
                  <c:v>10.205203404955368</c:v>
                </c:pt>
                <c:pt idx="25">
                  <c:v>6.4690958394501434</c:v>
                </c:pt>
                <c:pt idx="26">
                  <c:v>5.0872478357701283</c:v>
                </c:pt>
                <c:pt idx="27">
                  <c:v>6.1620185052990291</c:v>
                </c:pt>
                <c:pt idx="28">
                  <c:v>7.4005637530418573</c:v>
                </c:pt>
                <c:pt idx="29">
                  <c:v>8.0044825102057153</c:v>
                </c:pt>
                <c:pt idx="30">
                  <c:v>7.6666974426394896</c:v>
                </c:pt>
                <c:pt idx="31">
                  <c:v>8.7824117567218707</c:v>
                </c:pt>
                <c:pt idx="32">
                  <c:v>11.361861363591233</c:v>
                </c:pt>
                <c:pt idx="33">
                  <c:v>17.636474891412337</c:v>
                </c:pt>
                <c:pt idx="34">
                  <c:v>26.275583892197023</c:v>
                </c:pt>
                <c:pt idx="35">
                  <c:v>34.576907825415482</c:v>
                </c:pt>
                <c:pt idx="36">
                  <c:v>46.501744301617094</c:v>
                </c:pt>
                <c:pt idx="37">
                  <c:v>57.884077487485065</c:v>
                </c:pt>
                <c:pt idx="38">
                  <c:v>68.017629514471835</c:v>
                </c:pt>
                <c:pt idx="39">
                  <c:v>83.903763601222821</c:v>
                </c:pt>
                <c:pt idx="40">
                  <c:v>117.84604493605933</c:v>
                </c:pt>
                <c:pt idx="41">
                  <c:v>215.51710901839047</c:v>
                </c:pt>
                <c:pt idx="42">
                  <c:v>391.42124193128711</c:v>
                </c:pt>
                <c:pt idx="43">
                  <c:v>608.88317406596798</c:v>
                </c:pt>
                <c:pt idx="44">
                  <c:v>882.48907879461092</c:v>
                </c:pt>
                <c:pt idx="45">
                  <c:v>1184.29491870946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E$2:$E$47</c:f>
              <c:numCache>
                <c:formatCode>General</c:formatCode>
                <c:ptCount val="46"/>
                <c:pt idx="0">
                  <c:v>312.23911211301839</c:v>
                </c:pt>
                <c:pt idx="1">
                  <c:v>317.82187466809887</c:v>
                </c:pt>
                <c:pt idx="2">
                  <c:v>257.79545376033929</c:v>
                </c:pt>
                <c:pt idx="3">
                  <c:v>208.78666224999569</c:v>
                </c:pt>
                <c:pt idx="4">
                  <c:v>171.55541957166011</c:v>
                </c:pt>
                <c:pt idx="5">
                  <c:v>138.70573768391537</c:v>
                </c:pt>
                <c:pt idx="6">
                  <c:v>124.07969337635583</c:v>
                </c:pt>
                <c:pt idx="7">
                  <c:v>130.74582208739744</c:v>
                </c:pt>
                <c:pt idx="8">
                  <c:v>137.93980622848002</c:v>
                </c:pt>
                <c:pt idx="9">
                  <c:v>155.93017739994551</c:v>
                </c:pt>
                <c:pt idx="10">
                  <c:v>197.06322160557727</c:v>
                </c:pt>
                <c:pt idx="11">
                  <c:v>251.12211062428571</c:v>
                </c:pt>
                <c:pt idx="12">
                  <c:v>272.18462444667318</c:v>
                </c:pt>
                <c:pt idx="13">
                  <c:v>274.5846231673151</c:v>
                </c:pt>
                <c:pt idx="14">
                  <c:v>313.01947241847762</c:v>
                </c:pt>
                <c:pt idx="15">
                  <c:v>344.87115884623597</c:v>
                </c:pt>
                <c:pt idx="16">
                  <c:v>324.1092460660131</c:v>
                </c:pt>
                <c:pt idx="17">
                  <c:v>271.47761079550207</c:v>
                </c:pt>
                <c:pt idx="18">
                  <c:v>206.57303617549576</c:v>
                </c:pt>
                <c:pt idx="19">
                  <c:v>148.51254608349245</c:v>
                </c:pt>
                <c:pt idx="20">
                  <c:v>99.278904993609757</c:v>
                </c:pt>
                <c:pt idx="21">
                  <c:v>60.775518704833722</c:v>
                </c:pt>
                <c:pt idx="22">
                  <c:v>41.728234269117607</c:v>
                </c:pt>
                <c:pt idx="23">
                  <c:v>25.607601579915794</c:v>
                </c:pt>
                <c:pt idx="24">
                  <c:v>14.529851974066883</c:v>
                </c:pt>
                <c:pt idx="25">
                  <c:v>9.9955858540564382</c:v>
                </c:pt>
                <c:pt idx="26">
                  <c:v>10.900996193056137</c:v>
                </c:pt>
                <c:pt idx="27">
                  <c:v>17.632054729205294</c:v>
                </c:pt>
                <c:pt idx="28">
                  <c:v>26.116218543258249</c:v>
                </c:pt>
                <c:pt idx="29">
                  <c:v>33.818819647683313</c:v>
                </c:pt>
                <c:pt idx="30">
                  <c:v>43.181940909025492</c:v>
                </c:pt>
                <c:pt idx="31">
                  <c:v>63.09375394200692</c:v>
                </c:pt>
                <c:pt idx="32">
                  <c:v>98.213574900178514</c:v>
                </c:pt>
                <c:pt idx="33">
                  <c:v>139.42116816426707</c:v>
                </c:pt>
                <c:pt idx="34">
                  <c:v>169.54620220583209</c:v>
                </c:pt>
                <c:pt idx="35">
                  <c:v>175.94900440393752</c:v>
                </c:pt>
                <c:pt idx="36">
                  <c:v>160.03037561507031</c:v>
                </c:pt>
                <c:pt idx="37">
                  <c:v>138.3185635416074</c:v>
                </c:pt>
                <c:pt idx="38">
                  <c:v>132.32938837752042</c:v>
                </c:pt>
                <c:pt idx="39">
                  <c:v>137.54421525699146</c:v>
                </c:pt>
                <c:pt idx="40">
                  <c:v>148.10853828282328</c:v>
                </c:pt>
                <c:pt idx="41">
                  <c:v>195.59388371147682</c:v>
                </c:pt>
                <c:pt idx="42">
                  <c:v>281.63912842483336</c:v>
                </c:pt>
                <c:pt idx="43">
                  <c:v>378.08757400542152</c:v>
                </c:pt>
                <c:pt idx="44">
                  <c:v>538.99089504693768</c:v>
                </c:pt>
                <c:pt idx="45">
                  <c:v>731.827665999681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G$2:$G$47</c:f>
              <c:numCache>
                <c:formatCode>General</c:formatCode>
                <c:ptCount val="46"/>
                <c:pt idx="0">
                  <c:v>631.87972369515933</c:v>
                </c:pt>
                <c:pt idx="1">
                  <c:v>526.74739201330908</c:v>
                </c:pt>
                <c:pt idx="2">
                  <c:v>438.92935177395367</c:v>
                </c:pt>
                <c:pt idx="3">
                  <c:v>380.49505431109486</c:v>
                </c:pt>
                <c:pt idx="4">
                  <c:v>327.65601891359427</c:v>
                </c:pt>
                <c:pt idx="5">
                  <c:v>292.2116996700002</c:v>
                </c:pt>
                <c:pt idx="6">
                  <c:v>292.29786900365559</c:v>
                </c:pt>
                <c:pt idx="7">
                  <c:v>340.82269309614173</c:v>
                </c:pt>
                <c:pt idx="8">
                  <c:v>363.62309878136455</c:v>
                </c:pt>
                <c:pt idx="9">
                  <c:v>392.58748413407142</c:v>
                </c:pt>
                <c:pt idx="10">
                  <c:v>467.79607854851781</c:v>
                </c:pt>
                <c:pt idx="11">
                  <c:v>547.83590026991101</c:v>
                </c:pt>
                <c:pt idx="12">
                  <c:v>578.59260776265057</c:v>
                </c:pt>
                <c:pt idx="13">
                  <c:v>564.357433842776</c:v>
                </c:pt>
                <c:pt idx="14">
                  <c:v>584.01553116069806</c:v>
                </c:pt>
                <c:pt idx="15">
                  <c:v>634.93586272880475</c:v>
                </c:pt>
                <c:pt idx="16">
                  <c:v>596.41242596259042</c:v>
                </c:pt>
                <c:pt idx="17">
                  <c:v>568.34994630214362</c:v>
                </c:pt>
                <c:pt idx="18">
                  <c:v>520.69830479069901</c:v>
                </c:pt>
                <c:pt idx="19">
                  <c:v>380.63292524494352</c:v>
                </c:pt>
                <c:pt idx="20">
                  <c:v>282.70434985668606</c:v>
                </c:pt>
                <c:pt idx="21">
                  <c:v>212.73485092848892</c:v>
                </c:pt>
                <c:pt idx="22">
                  <c:v>148.21125388731406</c:v>
                </c:pt>
                <c:pt idx="23">
                  <c:v>93.022667992142502</c:v>
                </c:pt>
                <c:pt idx="24">
                  <c:v>61.030866717008699</c:v>
                </c:pt>
                <c:pt idx="25">
                  <c:v>58.267703417791729</c:v>
                </c:pt>
                <c:pt idx="26">
                  <c:v>258.06566505348098</c:v>
                </c:pt>
                <c:pt idx="27">
                  <c:v>627.43338607853991</c:v>
                </c:pt>
                <c:pt idx="28">
                  <c:v>661.13708478229466</c:v>
                </c:pt>
                <c:pt idx="29">
                  <c:v>398.52167891180773</c:v>
                </c:pt>
                <c:pt idx="30">
                  <c:v>243.75581104443839</c:v>
                </c:pt>
                <c:pt idx="31">
                  <c:v>196.17310499991814</c:v>
                </c:pt>
                <c:pt idx="32">
                  <c:v>189.75061733146785</c:v>
                </c:pt>
                <c:pt idx="33">
                  <c:v>199.61413372389103</c:v>
                </c:pt>
                <c:pt idx="34">
                  <c:v>203.86515418422488</c:v>
                </c:pt>
                <c:pt idx="35">
                  <c:v>197.46564500474935</c:v>
                </c:pt>
                <c:pt idx="36">
                  <c:v>176.58394314892044</c:v>
                </c:pt>
                <c:pt idx="37">
                  <c:v>147.26913583934819</c:v>
                </c:pt>
                <c:pt idx="38">
                  <c:v>133.02247267498623</c:v>
                </c:pt>
                <c:pt idx="39">
                  <c:v>158.98816521648465</c:v>
                </c:pt>
                <c:pt idx="40">
                  <c:v>227.86044129613614</c:v>
                </c:pt>
                <c:pt idx="41">
                  <c:v>335.31934498668249</c:v>
                </c:pt>
                <c:pt idx="42">
                  <c:v>484.34633523260123</c:v>
                </c:pt>
                <c:pt idx="43">
                  <c:v>680.24944298706578</c:v>
                </c:pt>
                <c:pt idx="44">
                  <c:v>936.32746874422844</c:v>
                </c:pt>
                <c:pt idx="45">
                  <c:v>1386.38415380421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J$2:$J$47</c:f>
              <c:numCache>
                <c:formatCode>General</c:formatCode>
                <c:ptCount val="46"/>
                <c:pt idx="0">
                  <c:v>341.44193268911135</c:v>
                </c:pt>
                <c:pt idx="1">
                  <c:v>305.06501662436659</c:v>
                </c:pt>
                <c:pt idx="2">
                  <c:v>230.58559932523562</c:v>
                </c:pt>
                <c:pt idx="3">
                  <c:v>202.09368541734054</c:v>
                </c:pt>
                <c:pt idx="4">
                  <c:v>196.41901296633674</c:v>
                </c:pt>
                <c:pt idx="5">
                  <c:v>199.18785268128801</c:v>
                </c:pt>
                <c:pt idx="6">
                  <c:v>237.01900235464657</c:v>
                </c:pt>
                <c:pt idx="7">
                  <c:v>316.86749228847845</c:v>
                </c:pt>
                <c:pt idx="8">
                  <c:v>417.67591445080888</c:v>
                </c:pt>
                <c:pt idx="9">
                  <c:v>544.04143849205673</c:v>
                </c:pt>
                <c:pt idx="10">
                  <c:v>718.26758203998304</c:v>
                </c:pt>
                <c:pt idx="11">
                  <c:v>920.90397057937889</c:v>
                </c:pt>
                <c:pt idx="12">
                  <c:v>986.66588967035204</c:v>
                </c:pt>
                <c:pt idx="13">
                  <c:v>839.4985022711071</c:v>
                </c:pt>
                <c:pt idx="14">
                  <c:v>650.34538838548929</c:v>
                </c:pt>
                <c:pt idx="15">
                  <c:v>462.92576311303782</c:v>
                </c:pt>
                <c:pt idx="16">
                  <c:v>290.95210096975779</c:v>
                </c:pt>
                <c:pt idx="17">
                  <c:v>191.7085606253921</c:v>
                </c:pt>
                <c:pt idx="18">
                  <c:v>131.3842106796703</c:v>
                </c:pt>
                <c:pt idx="19">
                  <c:v>83.083632816762503</c:v>
                </c:pt>
                <c:pt idx="20">
                  <c:v>45.1023177164275</c:v>
                </c:pt>
                <c:pt idx="21">
                  <c:v>24.179268224379182</c:v>
                </c:pt>
                <c:pt idx="22">
                  <c:v>13.688764185429751</c:v>
                </c:pt>
                <c:pt idx="23">
                  <c:v>8.8623946727840028</c:v>
                </c:pt>
                <c:pt idx="24">
                  <c:v>5.4533760323016898</c:v>
                </c:pt>
                <c:pt idx="25">
                  <c:v>3.859514921411582</c:v>
                </c:pt>
                <c:pt idx="26">
                  <c:v>3.106053305354441</c:v>
                </c:pt>
                <c:pt idx="27">
                  <c:v>3.1323981171046906</c:v>
                </c:pt>
                <c:pt idx="28">
                  <c:v>3.6013357662591354</c:v>
                </c:pt>
                <c:pt idx="29">
                  <c:v>4.3047422399908024</c:v>
                </c:pt>
                <c:pt idx="30">
                  <c:v>5.1056245171983941</c:v>
                </c:pt>
                <c:pt idx="31">
                  <c:v>6.1725893930835074</c:v>
                </c:pt>
                <c:pt idx="32">
                  <c:v>6.984009594991198</c:v>
                </c:pt>
                <c:pt idx="33">
                  <c:v>7.8033332404239637</c:v>
                </c:pt>
                <c:pt idx="34">
                  <c:v>10.261304176722261</c:v>
                </c:pt>
                <c:pt idx="35">
                  <c:v>14.579218822588187</c:v>
                </c:pt>
                <c:pt idx="36">
                  <c:v>20.103725846615554</c:v>
                </c:pt>
                <c:pt idx="37">
                  <c:v>25.654577682393167</c:v>
                </c:pt>
                <c:pt idx="38">
                  <c:v>34.917413493780963</c:v>
                </c:pt>
                <c:pt idx="39">
                  <c:v>51.772824051590725</c:v>
                </c:pt>
                <c:pt idx="40">
                  <c:v>77.917415232538531</c:v>
                </c:pt>
                <c:pt idx="41">
                  <c:v>138.51048225811286</c:v>
                </c:pt>
                <c:pt idx="42">
                  <c:v>234.55049349364819</c:v>
                </c:pt>
                <c:pt idx="43">
                  <c:v>357.38581276036246</c:v>
                </c:pt>
                <c:pt idx="44">
                  <c:v>484.39678468949137</c:v>
                </c:pt>
                <c:pt idx="45">
                  <c:v>648.625072178197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B$2:$B$47</c:f>
              <c:numCache>
                <c:formatCode>General</c:formatCode>
                <c:ptCount val="46"/>
                <c:pt idx="0">
                  <c:v>331.7693255547876</c:v>
                </c:pt>
                <c:pt idx="1">
                  <c:v>287.41507756825473</c:v>
                </c:pt>
                <c:pt idx="2">
                  <c:v>237.15142369496499</c:v>
                </c:pt>
                <c:pt idx="3">
                  <c:v>220.99605170797557</c:v>
                </c:pt>
                <c:pt idx="4">
                  <c:v>209.25588221812583</c:v>
                </c:pt>
                <c:pt idx="5">
                  <c:v>208.73909006833341</c:v>
                </c:pt>
                <c:pt idx="6">
                  <c:v>237.06154679934895</c:v>
                </c:pt>
                <c:pt idx="7">
                  <c:v>290.30237283992113</c:v>
                </c:pt>
                <c:pt idx="8">
                  <c:v>343.12751823826903</c:v>
                </c:pt>
                <c:pt idx="9">
                  <c:v>388.38053518096262</c:v>
                </c:pt>
                <c:pt idx="10">
                  <c:v>441.78988040081498</c:v>
                </c:pt>
                <c:pt idx="11">
                  <c:v>487.71697406062913</c:v>
                </c:pt>
                <c:pt idx="12">
                  <c:v>484.26794819136228</c:v>
                </c:pt>
                <c:pt idx="13">
                  <c:v>431.34169128544636</c:v>
                </c:pt>
                <c:pt idx="14">
                  <c:v>386.7739856718253</c:v>
                </c:pt>
                <c:pt idx="15">
                  <c:v>358.0021444627294</c:v>
                </c:pt>
                <c:pt idx="16">
                  <c:v>309.85059763641743</c:v>
                </c:pt>
                <c:pt idx="17">
                  <c:v>242.11712217775315</c:v>
                </c:pt>
                <c:pt idx="18">
                  <c:v>165.71052629213767</c:v>
                </c:pt>
                <c:pt idx="19">
                  <c:v>111.07660836951628</c:v>
                </c:pt>
                <c:pt idx="20">
                  <c:v>82.16995181699626</c:v>
                </c:pt>
                <c:pt idx="21">
                  <c:v>62.71160391611609</c:v>
                </c:pt>
                <c:pt idx="22">
                  <c:v>46.14055128690233</c:v>
                </c:pt>
                <c:pt idx="23">
                  <c:v>30.176167703097068</c:v>
                </c:pt>
                <c:pt idx="24">
                  <c:v>18.885382691327688</c:v>
                </c:pt>
                <c:pt idx="25">
                  <c:v>14.728576269084234</c:v>
                </c:pt>
                <c:pt idx="26">
                  <c:v>19.346001781360069</c:v>
                </c:pt>
                <c:pt idx="27">
                  <c:v>36.871996426494633</c:v>
                </c:pt>
                <c:pt idx="28">
                  <c:v>53.049837637388066</c:v>
                </c:pt>
                <c:pt idx="29">
                  <c:v>64.947291694565948</c:v>
                </c:pt>
                <c:pt idx="30">
                  <c:v>77.70981087204855</c:v>
                </c:pt>
                <c:pt idx="31">
                  <c:v>107.41412487316124</c:v>
                </c:pt>
                <c:pt idx="32">
                  <c:v>156.80147901419426</c:v>
                </c:pt>
                <c:pt idx="33">
                  <c:v>196.60570916016331</c:v>
                </c:pt>
                <c:pt idx="34">
                  <c:v>233.0620249444336</c:v>
                </c:pt>
                <c:pt idx="35">
                  <c:v>284.9322283268607</c:v>
                </c:pt>
                <c:pt idx="36">
                  <c:v>312.2548045941474</c:v>
                </c:pt>
                <c:pt idx="37">
                  <c:v>286.34778943281384</c:v>
                </c:pt>
                <c:pt idx="38">
                  <c:v>273.49539335971519</c:v>
                </c:pt>
                <c:pt idx="39">
                  <c:v>285.08951289418883</c:v>
                </c:pt>
                <c:pt idx="40">
                  <c:v>316.15321494149464</c:v>
                </c:pt>
                <c:pt idx="41">
                  <c:v>440.7450614892781</c:v>
                </c:pt>
                <c:pt idx="42">
                  <c:v>657.13492229692986</c:v>
                </c:pt>
                <c:pt idx="43">
                  <c:v>1025.495378979412</c:v>
                </c:pt>
                <c:pt idx="44">
                  <c:v>1525.5254877394432</c:v>
                </c:pt>
                <c:pt idx="45">
                  <c:v>1992.48089891275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L$2:$L$47</c:f>
              <c:numCache>
                <c:formatCode>General</c:formatCode>
                <c:ptCount val="46"/>
                <c:pt idx="0">
                  <c:v>1578.4170866562854</c:v>
                </c:pt>
                <c:pt idx="1">
                  <c:v>1340.9802683206442</c:v>
                </c:pt>
                <c:pt idx="2">
                  <c:v>1244.4041845605423</c:v>
                </c:pt>
                <c:pt idx="3">
                  <c:v>1277.6588975228995</c:v>
                </c:pt>
                <c:pt idx="4">
                  <c:v>1245.8699570327121</c:v>
                </c:pt>
                <c:pt idx="5">
                  <c:v>1289.3117886766511</c:v>
                </c:pt>
                <c:pt idx="6">
                  <c:v>1289.9347419773235</c:v>
                </c:pt>
                <c:pt idx="7">
                  <c:v>1346.1654384409458</c:v>
                </c:pt>
                <c:pt idx="8">
                  <c:v>1291.4738030731019</c:v>
                </c:pt>
                <c:pt idx="9">
                  <c:v>1132.3458790631441</c:v>
                </c:pt>
                <c:pt idx="10">
                  <c:v>951.2680122824404</c:v>
                </c:pt>
                <c:pt idx="11">
                  <c:v>780.02914322117795</c:v>
                </c:pt>
                <c:pt idx="12">
                  <c:v>621.26766232926275</c:v>
                </c:pt>
                <c:pt idx="13">
                  <c:v>487.29605837292291</c:v>
                </c:pt>
                <c:pt idx="14">
                  <c:v>394.62259381997342</c:v>
                </c:pt>
                <c:pt idx="15">
                  <c:v>331.41115595764137</c:v>
                </c:pt>
                <c:pt idx="16">
                  <c:v>277.98374934704418</c:v>
                </c:pt>
                <c:pt idx="17">
                  <c:v>216.53123845131614</c:v>
                </c:pt>
                <c:pt idx="18">
                  <c:v>159.42107850439172</c:v>
                </c:pt>
                <c:pt idx="19">
                  <c:v>113.34085641054675</c:v>
                </c:pt>
                <c:pt idx="20">
                  <c:v>79.243324276691681</c:v>
                </c:pt>
                <c:pt idx="21">
                  <c:v>60.6829803478388</c:v>
                </c:pt>
                <c:pt idx="22">
                  <c:v>44.632771777577091</c:v>
                </c:pt>
                <c:pt idx="23">
                  <c:v>27.886321283034619</c:v>
                </c:pt>
                <c:pt idx="24">
                  <c:v>16.654839715031844</c:v>
                </c:pt>
                <c:pt idx="25">
                  <c:v>11.304770191611274</c:v>
                </c:pt>
                <c:pt idx="26">
                  <c:v>8.4648360267818621</c:v>
                </c:pt>
                <c:pt idx="27">
                  <c:v>8.2266480000542348</c:v>
                </c:pt>
                <c:pt idx="28">
                  <c:v>9.7657090958327544</c:v>
                </c:pt>
                <c:pt idx="29">
                  <c:v>13.485106743964177</c:v>
                </c:pt>
                <c:pt idx="30">
                  <c:v>15.390610957785205</c:v>
                </c:pt>
                <c:pt idx="31">
                  <c:v>18.13893434310399</c:v>
                </c:pt>
                <c:pt idx="32">
                  <c:v>22.811084098145926</c:v>
                </c:pt>
                <c:pt idx="33">
                  <c:v>27.446589541383613</c:v>
                </c:pt>
                <c:pt idx="34">
                  <c:v>46.428343055985366</c:v>
                </c:pt>
                <c:pt idx="35">
                  <c:v>87.634871679865029</c:v>
                </c:pt>
                <c:pt idx="36">
                  <c:v>146.48563643749131</c:v>
                </c:pt>
                <c:pt idx="37">
                  <c:v>210.42996053590841</c:v>
                </c:pt>
                <c:pt idx="38">
                  <c:v>280.64046195285232</c:v>
                </c:pt>
                <c:pt idx="39">
                  <c:v>361.01975989547577</c:v>
                </c:pt>
                <c:pt idx="40">
                  <c:v>446.96899323234527</c:v>
                </c:pt>
                <c:pt idx="41">
                  <c:v>658.16848431614301</c:v>
                </c:pt>
                <c:pt idx="42">
                  <c:v>1013.6915974409811</c:v>
                </c:pt>
                <c:pt idx="43">
                  <c:v>1392.41055993791</c:v>
                </c:pt>
                <c:pt idx="44">
                  <c:v>1730.985678853282</c:v>
                </c:pt>
                <c:pt idx="45">
                  <c:v>2038.21158902011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7</c:f>
              <c:numCache>
                <c:formatCode>General</c:formatCode>
                <c:ptCount val="46"/>
                <c:pt idx="0">
                  <c:v>627.77010371749168</c:v>
                </c:pt>
                <c:pt idx="1">
                  <c:v>900.88411343603377</c:v>
                </c:pt>
                <c:pt idx="2">
                  <c:v>1008.268843972995</c:v>
                </c:pt>
                <c:pt idx="3">
                  <c:v>881.09648877621669</c:v>
                </c:pt>
                <c:pt idx="4">
                  <c:v>613.96778128501421</c:v>
                </c:pt>
                <c:pt idx="5">
                  <c:v>375.80430271609339</c:v>
                </c:pt>
                <c:pt idx="6">
                  <c:v>237.66276673415922</c:v>
                </c:pt>
                <c:pt idx="7">
                  <c:v>97.659934860136815</c:v>
                </c:pt>
                <c:pt idx="8">
                  <c:v>70.355294554405987</c:v>
                </c:pt>
                <c:pt idx="9">
                  <c:v>139.47042941680763</c:v>
                </c:pt>
                <c:pt idx="10">
                  <c:v>144.78389044813795</c:v>
                </c:pt>
                <c:pt idx="11">
                  <c:v>168.34058647172964</c:v>
                </c:pt>
                <c:pt idx="12">
                  <c:v>195.22479785291384</c:v>
                </c:pt>
                <c:pt idx="13">
                  <c:v>226.9154203061762</c:v>
                </c:pt>
                <c:pt idx="14">
                  <c:v>247.91785216003495</c:v>
                </c:pt>
                <c:pt idx="15">
                  <c:v>242.96566422467183</c:v>
                </c:pt>
                <c:pt idx="16">
                  <c:v>224.31678926500871</c:v>
                </c:pt>
                <c:pt idx="17">
                  <c:v>189.60076872154156</c:v>
                </c:pt>
                <c:pt idx="18">
                  <c:v>155.98546913128442</c:v>
                </c:pt>
                <c:pt idx="19">
                  <c:v>139.06901486573298</c:v>
                </c:pt>
                <c:pt idx="20">
                  <c:v>131.69988879126771</c:v>
                </c:pt>
                <c:pt idx="21">
                  <c:v>122.64693431045242</c:v>
                </c:pt>
                <c:pt idx="22">
                  <c:v>108.12840381053115</c:v>
                </c:pt>
                <c:pt idx="23">
                  <c:v>101.18393207693958</c:v>
                </c:pt>
                <c:pt idx="24">
                  <c:v>127.51672662743707</c:v>
                </c:pt>
                <c:pt idx="25">
                  <c:v>265.93714008695991</c:v>
                </c:pt>
                <c:pt idx="26">
                  <c:v>497.01670818349476</c:v>
                </c:pt>
                <c:pt idx="27">
                  <c:v>697.18313043095395</c:v>
                </c:pt>
                <c:pt idx="28">
                  <c:v>780.33721104015081</c:v>
                </c:pt>
                <c:pt idx="29">
                  <c:v>721.40532952606418</c:v>
                </c:pt>
                <c:pt idx="30">
                  <c:v>581.99616864599955</c:v>
                </c:pt>
                <c:pt idx="31">
                  <c:v>441.09121038614092</c:v>
                </c:pt>
                <c:pt idx="32">
                  <c:v>334.54945040643645</c:v>
                </c:pt>
                <c:pt idx="33">
                  <c:v>252.54468303821122</c:v>
                </c:pt>
                <c:pt idx="34">
                  <c:v>180.30485280191795</c:v>
                </c:pt>
                <c:pt idx="35">
                  <c:v>120.80676549999964</c:v>
                </c:pt>
                <c:pt idx="36">
                  <c:v>86.675965117836085</c:v>
                </c:pt>
                <c:pt idx="37">
                  <c:v>68.291178678616831</c:v>
                </c:pt>
                <c:pt idx="38">
                  <c:v>56.46423837905931</c:v>
                </c:pt>
                <c:pt idx="39">
                  <c:v>47.901432192187819</c:v>
                </c:pt>
                <c:pt idx="40">
                  <c:v>44.626734538684047</c:v>
                </c:pt>
                <c:pt idx="41">
                  <c:v>48.490877769818503</c:v>
                </c:pt>
                <c:pt idx="42">
                  <c:v>53.981806286887085</c:v>
                </c:pt>
                <c:pt idx="43">
                  <c:v>61.631922547104629</c:v>
                </c:pt>
                <c:pt idx="44">
                  <c:v>86.840756354593054</c:v>
                </c:pt>
                <c:pt idx="45">
                  <c:v>132.432998524019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H$2:$H$47</c:f>
              <c:numCache>
                <c:formatCode>General</c:formatCode>
                <c:ptCount val="46"/>
                <c:pt idx="0">
                  <c:v>1091.1262045884519</c:v>
                </c:pt>
                <c:pt idx="1">
                  <c:v>1089.0118894303387</c:v>
                </c:pt>
                <c:pt idx="2">
                  <c:v>845.01198599239024</c:v>
                </c:pt>
                <c:pt idx="3">
                  <c:v>618.89193047596939</c:v>
                </c:pt>
                <c:pt idx="4">
                  <c:v>458.89160840655819</c:v>
                </c:pt>
                <c:pt idx="5">
                  <c:v>324.57015083912233</c:v>
                </c:pt>
                <c:pt idx="6">
                  <c:v>228.8059263357612</c:v>
                </c:pt>
                <c:pt idx="7">
                  <c:v>203.462061038824</c:v>
                </c:pt>
                <c:pt idx="8">
                  <c:v>151.35352241305569</c:v>
                </c:pt>
                <c:pt idx="9">
                  <c:v>120.31173204095343</c:v>
                </c:pt>
                <c:pt idx="10">
                  <c:v>114.69755676704784</c:v>
                </c:pt>
                <c:pt idx="11">
                  <c:v>109.61526619587818</c:v>
                </c:pt>
                <c:pt idx="12">
                  <c:v>92.279057335158029</c:v>
                </c:pt>
                <c:pt idx="13">
                  <c:v>59.214048079996871</c:v>
                </c:pt>
                <c:pt idx="14">
                  <c:v>41.77498858615099</c:v>
                </c:pt>
                <c:pt idx="15">
                  <c:v>46.34008740217417</c:v>
                </c:pt>
                <c:pt idx="16">
                  <c:v>47.577233589200731</c:v>
                </c:pt>
                <c:pt idx="17">
                  <c:v>44.04651828347054</c:v>
                </c:pt>
                <c:pt idx="18">
                  <c:v>44.925156549316007</c:v>
                </c:pt>
                <c:pt idx="19">
                  <c:v>40.667140337911057</c:v>
                </c:pt>
                <c:pt idx="20">
                  <c:v>48.896660282727872</c:v>
                </c:pt>
                <c:pt idx="21">
                  <c:v>79.862047327365318</c:v>
                </c:pt>
                <c:pt idx="22">
                  <c:v>131.3005875430575</c:v>
                </c:pt>
                <c:pt idx="23">
                  <c:v>166.24776338441939</c:v>
                </c:pt>
                <c:pt idx="24">
                  <c:v>233.63990609267023</c:v>
                </c:pt>
                <c:pt idx="25">
                  <c:v>441.51278999782886</c:v>
                </c:pt>
                <c:pt idx="26">
                  <c:v>571.27796451779511</c:v>
                </c:pt>
                <c:pt idx="27">
                  <c:v>739.65179741839916</c:v>
                </c:pt>
                <c:pt idx="28">
                  <c:v>847.29380075302242</c:v>
                </c:pt>
                <c:pt idx="29">
                  <c:v>656.37510907125989</c:v>
                </c:pt>
                <c:pt idx="30">
                  <c:v>582.32706110501579</c:v>
                </c:pt>
                <c:pt idx="31">
                  <c:v>568.27913391480092</c:v>
                </c:pt>
                <c:pt idx="32">
                  <c:v>585.75345648286134</c:v>
                </c:pt>
                <c:pt idx="33">
                  <c:v>681.73219802102744</c:v>
                </c:pt>
                <c:pt idx="34">
                  <c:v>712.93120293233619</c:v>
                </c:pt>
                <c:pt idx="35">
                  <c:v>727.08491934519463</c:v>
                </c:pt>
                <c:pt idx="36">
                  <c:v>663.56289903198899</c:v>
                </c:pt>
                <c:pt idx="37">
                  <c:v>643.48351685632986</c:v>
                </c:pt>
                <c:pt idx="38">
                  <c:v>691.94085800613493</c:v>
                </c:pt>
                <c:pt idx="39">
                  <c:v>778.04887735374962</c:v>
                </c:pt>
                <c:pt idx="40">
                  <c:v>805.88613585660607</c:v>
                </c:pt>
                <c:pt idx="41">
                  <c:v>852.05137718246658</c:v>
                </c:pt>
                <c:pt idx="42">
                  <c:v>936.13764694178133</c:v>
                </c:pt>
                <c:pt idx="43">
                  <c:v>776.13291698809326</c:v>
                </c:pt>
                <c:pt idx="44">
                  <c:v>697.6211515441928</c:v>
                </c:pt>
                <c:pt idx="45">
                  <c:v>798.683652948287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46608"/>
        <c:axId val="301529320"/>
      </c:lineChart>
      <c:catAx>
        <c:axId val="1154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1529320"/>
        <c:crosses val="autoZero"/>
        <c:auto val="1"/>
        <c:lblAlgn val="ctr"/>
        <c:lblOffset val="100"/>
        <c:tickLblSkip val="1"/>
        <c:noMultiLvlLbl val="1"/>
      </c:catAx>
      <c:valAx>
        <c:axId val="301529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546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573984053497943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I$2:$I$47</c:f>
              <c:numCache>
                <c:formatCode>General</c:formatCode>
                <c:ptCount val="46"/>
                <c:pt idx="0">
                  <c:v>129.48646293666968</c:v>
                </c:pt>
                <c:pt idx="1">
                  <c:v>123.09024824603122</c:v>
                </c:pt>
                <c:pt idx="2">
                  <c:v>133.86053648359203</c:v>
                </c:pt>
                <c:pt idx="3">
                  <c:v>147.52083760036936</c:v>
                </c:pt>
                <c:pt idx="4">
                  <c:v>133.4526367679068</c:v>
                </c:pt>
                <c:pt idx="5">
                  <c:v>112.23317283492037</c:v>
                </c:pt>
                <c:pt idx="6">
                  <c:v>135.91739249672813</c:v>
                </c:pt>
                <c:pt idx="7">
                  <c:v>147.14765275410417</c:v>
                </c:pt>
                <c:pt idx="8">
                  <c:v>144.96061598064298</c:v>
                </c:pt>
                <c:pt idx="9">
                  <c:v>187.06107386977064</c:v>
                </c:pt>
                <c:pt idx="10">
                  <c:v>257.02021446846328</c:v>
                </c:pt>
                <c:pt idx="11">
                  <c:v>297.58453938575514</c:v>
                </c:pt>
                <c:pt idx="12">
                  <c:v>262.21876616411106</c:v>
                </c:pt>
                <c:pt idx="13">
                  <c:v>212.0904947216041</c:v>
                </c:pt>
                <c:pt idx="14">
                  <c:v>213.98245510499513</c:v>
                </c:pt>
                <c:pt idx="15">
                  <c:v>214.27753149506529</c:v>
                </c:pt>
                <c:pt idx="16">
                  <c:v>182.44399623690816</c:v>
                </c:pt>
                <c:pt idx="17">
                  <c:v>184.27520559881415</c:v>
                </c:pt>
                <c:pt idx="18">
                  <c:v>129.43439063253965</c:v>
                </c:pt>
                <c:pt idx="19">
                  <c:v>150.14181024158077</c:v>
                </c:pt>
                <c:pt idx="20">
                  <c:v>106.1580706864171</c:v>
                </c:pt>
                <c:pt idx="21">
                  <c:v>79.141223560287571</c:v>
                </c:pt>
                <c:pt idx="22">
                  <c:v>45.840985069134661</c:v>
                </c:pt>
                <c:pt idx="23">
                  <c:v>26.27915615095414</c:v>
                </c:pt>
                <c:pt idx="24">
                  <c:v>21.314929823891468</c:v>
                </c:pt>
                <c:pt idx="25">
                  <c:v>35.495953981969095</c:v>
                </c:pt>
                <c:pt idx="26">
                  <c:v>65.185846053440073</c:v>
                </c:pt>
                <c:pt idx="27">
                  <c:v>82.803642284099553</c:v>
                </c:pt>
                <c:pt idx="28">
                  <c:v>90.171873318498513</c:v>
                </c:pt>
                <c:pt idx="29">
                  <c:v>97.930646633872684</c:v>
                </c:pt>
                <c:pt idx="30">
                  <c:v>106.19278555583713</c:v>
                </c:pt>
                <c:pt idx="31">
                  <c:v>115.89559155873235</c:v>
                </c:pt>
                <c:pt idx="32">
                  <c:v>120.03533973706958</c:v>
                </c:pt>
                <c:pt idx="33">
                  <c:v>122.48273803118089</c:v>
                </c:pt>
                <c:pt idx="34">
                  <c:v>119.40179337015424</c:v>
                </c:pt>
                <c:pt idx="35">
                  <c:v>119.37575721808922</c:v>
                </c:pt>
                <c:pt idx="36">
                  <c:v>125.58971884427255</c:v>
                </c:pt>
                <c:pt idx="37">
                  <c:v>118.37770472226369</c:v>
                </c:pt>
                <c:pt idx="38">
                  <c:v>115.47033440833711</c:v>
                </c:pt>
                <c:pt idx="39">
                  <c:v>129.41703319782962</c:v>
                </c:pt>
                <c:pt idx="40">
                  <c:v>198.27397669243666</c:v>
                </c:pt>
                <c:pt idx="41">
                  <c:v>346.93172626631167</c:v>
                </c:pt>
                <c:pt idx="42">
                  <c:v>475.95821718316608</c:v>
                </c:pt>
                <c:pt idx="43">
                  <c:v>501.35214416390977</c:v>
                </c:pt>
                <c:pt idx="44">
                  <c:v>638.04194250523324</c:v>
                </c:pt>
                <c:pt idx="45">
                  <c:v>972.0076650431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C$2:$C$47</c:f>
              <c:numCache>
                <c:formatCode>General</c:formatCode>
                <c:ptCount val="46"/>
                <c:pt idx="0">
                  <c:v>831.35877247850397</c:v>
                </c:pt>
                <c:pt idx="1">
                  <c:v>527.76624216764276</c:v>
                </c:pt>
                <c:pt idx="2">
                  <c:v>450.5075258050378</c:v>
                </c:pt>
                <c:pt idx="3">
                  <c:v>443.15756803924171</c:v>
                </c:pt>
                <c:pt idx="4">
                  <c:v>468.33070583252817</c:v>
                </c:pt>
                <c:pt idx="5">
                  <c:v>500.4049490089667</c:v>
                </c:pt>
                <c:pt idx="6">
                  <c:v>620.14567317056878</c:v>
                </c:pt>
                <c:pt idx="7">
                  <c:v>775.6356193915077</c:v>
                </c:pt>
                <c:pt idx="8">
                  <c:v>798.13434507154011</c:v>
                </c:pt>
                <c:pt idx="9">
                  <c:v>721.70787583508752</c:v>
                </c:pt>
                <c:pt idx="10">
                  <c:v>607.66196627828162</c:v>
                </c:pt>
                <c:pt idx="11">
                  <c:v>462.44886940163025</c:v>
                </c:pt>
                <c:pt idx="12">
                  <c:v>346.27091102726507</c:v>
                </c:pt>
                <c:pt idx="13">
                  <c:v>256.07028429842359</c:v>
                </c:pt>
                <c:pt idx="14">
                  <c:v>201.26353815932558</c:v>
                </c:pt>
                <c:pt idx="15">
                  <c:v>163.47577819548064</c:v>
                </c:pt>
                <c:pt idx="16">
                  <c:v>134.65571479321139</c:v>
                </c:pt>
                <c:pt idx="17">
                  <c:v>101.3564786558068</c:v>
                </c:pt>
                <c:pt idx="18">
                  <c:v>71.358177749096939</c:v>
                </c:pt>
                <c:pt idx="19">
                  <c:v>46.69934997759011</c:v>
                </c:pt>
                <c:pt idx="20">
                  <c:v>29.858034537133602</c:v>
                </c:pt>
                <c:pt idx="21">
                  <c:v>21.937660201727351</c:v>
                </c:pt>
                <c:pt idx="22">
                  <c:v>13.231794196694034</c:v>
                </c:pt>
                <c:pt idx="23">
                  <c:v>8.7339192789485711</c:v>
                </c:pt>
                <c:pt idx="24">
                  <c:v>6.470955183118213</c:v>
                </c:pt>
                <c:pt idx="25">
                  <c:v>9.444602218134964</c:v>
                </c:pt>
                <c:pt idx="26">
                  <c:v>12.698781992304239</c:v>
                </c:pt>
                <c:pt idx="27">
                  <c:v>15.045905909880355</c:v>
                </c:pt>
                <c:pt idx="28">
                  <c:v>12.539813440117808</c:v>
                </c:pt>
                <c:pt idx="29">
                  <c:v>11.034287739999264</c:v>
                </c:pt>
                <c:pt idx="30">
                  <c:v>11.183905200880611</c:v>
                </c:pt>
                <c:pt idx="31">
                  <c:v>11.960045779202593</c:v>
                </c:pt>
                <c:pt idx="32">
                  <c:v>12.156418696609359</c:v>
                </c:pt>
                <c:pt idx="33">
                  <c:v>12.277982883575453</c:v>
                </c:pt>
                <c:pt idx="34">
                  <c:v>16.401814149117552</c:v>
                </c:pt>
                <c:pt idx="35">
                  <c:v>24.359592849744139</c:v>
                </c:pt>
                <c:pt idx="36">
                  <c:v>28.595637210947249</c:v>
                </c:pt>
                <c:pt idx="37">
                  <c:v>30.437802198048818</c:v>
                </c:pt>
                <c:pt idx="38">
                  <c:v>42.033155416353132</c:v>
                </c:pt>
                <c:pt idx="39">
                  <c:v>55.835366182657296</c:v>
                </c:pt>
                <c:pt idx="40">
                  <c:v>90.013604902739772</c:v>
                </c:pt>
                <c:pt idx="41">
                  <c:v>201.35704907237641</c:v>
                </c:pt>
                <c:pt idx="42">
                  <c:v>321.22868851224979</c:v>
                </c:pt>
                <c:pt idx="43">
                  <c:v>499.54464860889891</c:v>
                </c:pt>
                <c:pt idx="44">
                  <c:v>718.26667423481649</c:v>
                </c:pt>
                <c:pt idx="45">
                  <c:v>1002.549201000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D$2:$D$47</c:f>
              <c:numCache>
                <c:formatCode>General</c:formatCode>
                <c:ptCount val="46"/>
                <c:pt idx="0">
                  <c:v>183.85561923924902</c:v>
                </c:pt>
                <c:pt idx="1">
                  <c:v>179.12004322743113</c:v>
                </c:pt>
                <c:pt idx="2">
                  <c:v>197.08938545295217</c:v>
                </c:pt>
                <c:pt idx="3">
                  <c:v>199.34725105457179</c:v>
                </c:pt>
                <c:pt idx="4">
                  <c:v>195.66930682456515</c:v>
                </c:pt>
                <c:pt idx="5">
                  <c:v>170.072241004099</c:v>
                </c:pt>
                <c:pt idx="6">
                  <c:v>178.99972275787113</c:v>
                </c:pt>
                <c:pt idx="7">
                  <c:v>193.95956780649664</c:v>
                </c:pt>
                <c:pt idx="8">
                  <c:v>188.64467101531582</c:v>
                </c:pt>
                <c:pt idx="9">
                  <c:v>214.91612564047625</c:v>
                </c:pt>
                <c:pt idx="10">
                  <c:v>275.77303079360291</c:v>
                </c:pt>
                <c:pt idx="11">
                  <c:v>335.80106160087189</c:v>
                </c:pt>
                <c:pt idx="12">
                  <c:v>363.58172112816749</c:v>
                </c:pt>
                <c:pt idx="13">
                  <c:v>305.67489563610428</c:v>
                </c:pt>
                <c:pt idx="14">
                  <c:v>304.73164257226983</c:v>
                </c:pt>
                <c:pt idx="15">
                  <c:v>271.34345498832027</c:v>
                </c:pt>
                <c:pt idx="16">
                  <c:v>217.23489419582373</c:v>
                </c:pt>
                <c:pt idx="17">
                  <c:v>162.86044001997854</c:v>
                </c:pt>
                <c:pt idx="18">
                  <c:v>124.7322201105237</c:v>
                </c:pt>
                <c:pt idx="19">
                  <c:v>126.63060974135911</c:v>
                </c:pt>
                <c:pt idx="20">
                  <c:v>93.884131328396208</c:v>
                </c:pt>
                <c:pt idx="21">
                  <c:v>72.467087746717866</c:v>
                </c:pt>
                <c:pt idx="22">
                  <c:v>43.313883603700859</c:v>
                </c:pt>
                <c:pt idx="23">
                  <c:v>25.408415207699271</c:v>
                </c:pt>
                <c:pt idx="24">
                  <c:v>18.884371969335334</c:v>
                </c:pt>
                <c:pt idx="25">
                  <c:v>23.156491357662905</c:v>
                </c:pt>
                <c:pt idx="26">
                  <c:v>37.881637218751642</c:v>
                </c:pt>
                <c:pt idx="27">
                  <c:v>75.204749788681596</c:v>
                </c:pt>
                <c:pt idx="28">
                  <c:v>181.43435546909117</c:v>
                </c:pt>
                <c:pt idx="29">
                  <c:v>226.51293929300525</c:v>
                </c:pt>
                <c:pt idx="30">
                  <c:v>234.70215841256362</c:v>
                </c:pt>
                <c:pt idx="31">
                  <c:v>246.3687876461953</c:v>
                </c:pt>
                <c:pt idx="32">
                  <c:v>221.9437323255172</c:v>
                </c:pt>
                <c:pt idx="33">
                  <c:v>185.58615438785876</c:v>
                </c:pt>
                <c:pt idx="34">
                  <c:v>141.55777515627699</c:v>
                </c:pt>
                <c:pt idx="35">
                  <c:v>104.76496391514847</c:v>
                </c:pt>
                <c:pt idx="36">
                  <c:v>75.831604580710206</c:v>
                </c:pt>
                <c:pt idx="37">
                  <c:v>58.890185379084343</c:v>
                </c:pt>
                <c:pt idx="38">
                  <c:v>49.687897614588763</c:v>
                </c:pt>
                <c:pt idx="39">
                  <c:v>43.355475864783322</c:v>
                </c:pt>
                <c:pt idx="40">
                  <c:v>48.607984264340445</c:v>
                </c:pt>
                <c:pt idx="41">
                  <c:v>53.426744798323284</c:v>
                </c:pt>
                <c:pt idx="42">
                  <c:v>59.011991286540137</c:v>
                </c:pt>
                <c:pt idx="43">
                  <c:v>73.14147655141214</c:v>
                </c:pt>
                <c:pt idx="44">
                  <c:v>100.40223281517694</c:v>
                </c:pt>
                <c:pt idx="45">
                  <c:v>179.778092215271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F$2:$F$47</c:f>
              <c:numCache>
                <c:formatCode>General</c:formatCode>
                <c:ptCount val="46"/>
                <c:pt idx="0">
                  <c:v>204.66625514105212</c:v>
                </c:pt>
                <c:pt idx="1">
                  <c:v>157.64361881782696</c:v>
                </c:pt>
                <c:pt idx="2">
                  <c:v>142.5500986829839</c:v>
                </c:pt>
                <c:pt idx="3">
                  <c:v>138.53946769403206</c:v>
                </c:pt>
                <c:pt idx="4">
                  <c:v>139.69638047930661</c:v>
                </c:pt>
                <c:pt idx="5">
                  <c:v>139.65446334940538</c:v>
                </c:pt>
                <c:pt idx="6">
                  <c:v>150.54956375333896</c:v>
                </c:pt>
                <c:pt idx="7">
                  <c:v>203.70048446812731</c:v>
                </c:pt>
                <c:pt idx="8">
                  <c:v>239.10033901233317</c:v>
                </c:pt>
                <c:pt idx="9">
                  <c:v>261.58133412097294</c:v>
                </c:pt>
                <c:pt idx="10">
                  <c:v>250.39449049292665</c:v>
                </c:pt>
                <c:pt idx="11">
                  <c:v>242.19717656943772</c:v>
                </c:pt>
                <c:pt idx="12">
                  <c:v>220.38350216882583</c:v>
                </c:pt>
                <c:pt idx="13">
                  <c:v>168.90088322410733</c:v>
                </c:pt>
                <c:pt idx="14">
                  <c:v>163.98987228487658</c:v>
                </c:pt>
                <c:pt idx="15">
                  <c:v>153.0310578434931</c:v>
                </c:pt>
                <c:pt idx="16">
                  <c:v>130.6875509209294</c:v>
                </c:pt>
                <c:pt idx="17">
                  <c:v>106.8216138403522</c:v>
                </c:pt>
                <c:pt idx="18">
                  <c:v>74.382785352370817</c:v>
                </c:pt>
                <c:pt idx="19">
                  <c:v>50.998056923059998</c:v>
                </c:pt>
                <c:pt idx="20">
                  <c:v>37.566131817502608</c:v>
                </c:pt>
                <c:pt idx="21">
                  <c:v>27.26960802855891</c:v>
                </c:pt>
                <c:pt idx="22">
                  <c:v>19.389187607123418</c:v>
                </c:pt>
                <c:pt idx="23">
                  <c:v>12.414177191554979</c:v>
                </c:pt>
                <c:pt idx="24">
                  <c:v>8.8294242423998544</c:v>
                </c:pt>
                <c:pt idx="25">
                  <c:v>9.4380609685660417</c:v>
                </c:pt>
                <c:pt idx="26">
                  <c:v>14.746446299260676</c:v>
                </c:pt>
                <c:pt idx="27">
                  <c:v>31.593779149172136</c:v>
                </c:pt>
                <c:pt idx="28">
                  <c:v>52.38132220980134</c:v>
                </c:pt>
                <c:pt idx="29">
                  <c:v>64.312614064893879</c:v>
                </c:pt>
                <c:pt idx="30">
                  <c:v>71.309421388010975</c:v>
                </c:pt>
                <c:pt idx="31">
                  <c:v>72.317109190837087</c:v>
                </c:pt>
                <c:pt idx="32">
                  <c:v>75.960546121853966</c:v>
                </c:pt>
                <c:pt idx="33">
                  <c:v>77.171112833402148</c:v>
                </c:pt>
                <c:pt idx="34">
                  <c:v>66.991957008181956</c:v>
                </c:pt>
                <c:pt idx="35">
                  <c:v>55.328934784457424</c:v>
                </c:pt>
                <c:pt idx="36">
                  <c:v>48.420991776730986</c:v>
                </c:pt>
                <c:pt idx="37">
                  <c:v>39.603304330703487</c:v>
                </c:pt>
                <c:pt idx="38">
                  <c:v>34.9823599303894</c:v>
                </c:pt>
                <c:pt idx="39">
                  <c:v>30.252430992332048</c:v>
                </c:pt>
                <c:pt idx="40">
                  <c:v>29.928830749494377</c:v>
                </c:pt>
                <c:pt idx="41">
                  <c:v>42.545886849771421</c:v>
                </c:pt>
                <c:pt idx="42">
                  <c:v>53.871895349089883</c:v>
                </c:pt>
                <c:pt idx="43">
                  <c:v>64.864243494394373</c:v>
                </c:pt>
                <c:pt idx="44">
                  <c:v>89.315343708393058</c:v>
                </c:pt>
                <c:pt idx="45">
                  <c:v>85.71885396286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K$2:$K$47</c:f>
              <c:numCache>
                <c:formatCode>General</c:formatCode>
                <c:ptCount val="46"/>
                <c:pt idx="0">
                  <c:v>151.54266440357495</c:v>
                </c:pt>
                <c:pt idx="1">
                  <c:v>92.604288068837732</c:v>
                </c:pt>
                <c:pt idx="2">
                  <c:v>78.949582610251511</c:v>
                </c:pt>
                <c:pt idx="3">
                  <c:v>84.855703337091285</c:v>
                </c:pt>
                <c:pt idx="4">
                  <c:v>91.549989221585577</c:v>
                </c:pt>
                <c:pt idx="5">
                  <c:v>114.36583514901338</c:v>
                </c:pt>
                <c:pt idx="6">
                  <c:v>171.08301876672419</c:v>
                </c:pt>
                <c:pt idx="7">
                  <c:v>280.19783150175351</c:v>
                </c:pt>
                <c:pt idx="8">
                  <c:v>366.36373146455622</c:v>
                </c:pt>
                <c:pt idx="9">
                  <c:v>567.89858586793252</c:v>
                </c:pt>
                <c:pt idx="10">
                  <c:v>577.72506056076827</c:v>
                </c:pt>
                <c:pt idx="11">
                  <c:v>619.03719791523145</c:v>
                </c:pt>
                <c:pt idx="12">
                  <c:v>499.06208346239112</c:v>
                </c:pt>
                <c:pt idx="13">
                  <c:v>362.47408523197544</c:v>
                </c:pt>
                <c:pt idx="14">
                  <c:v>286.11418813973165</c:v>
                </c:pt>
                <c:pt idx="15">
                  <c:v>187.14316334282748</c:v>
                </c:pt>
                <c:pt idx="16">
                  <c:v>130.15984603551902</c:v>
                </c:pt>
                <c:pt idx="17">
                  <c:v>84.702164670015719</c:v>
                </c:pt>
                <c:pt idx="18">
                  <c:v>63.431941324481862</c:v>
                </c:pt>
                <c:pt idx="19">
                  <c:v>38.620092725071821</c:v>
                </c:pt>
                <c:pt idx="20">
                  <c:v>22.437117215308092</c:v>
                </c:pt>
                <c:pt idx="21">
                  <c:v>15.875898175612614</c:v>
                </c:pt>
                <c:pt idx="22">
                  <c:v>9.7855310482821789</c:v>
                </c:pt>
                <c:pt idx="23">
                  <c:v>5.9880080159467308</c:v>
                </c:pt>
                <c:pt idx="24">
                  <c:v>4.217195389008638</c:v>
                </c:pt>
                <c:pt idx="25">
                  <c:v>2.2519004504415054</c:v>
                </c:pt>
                <c:pt idx="26">
                  <c:v>2.8353473853286228</c:v>
                </c:pt>
                <c:pt idx="27">
                  <c:v>3.3266711199704058</c:v>
                </c:pt>
                <c:pt idx="28">
                  <c:v>4.0738926330714511</c:v>
                </c:pt>
                <c:pt idx="29">
                  <c:v>3.9305898771342638</c:v>
                </c:pt>
                <c:pt idx="30">
                  <c:v>3.7361075655052254</c:v>
                </c:pt>
                <c:pt idx="31">
                  <c:v>5.0463041912166471</c:v>
                </c:pt>
                <c:pt idx="32">
                  <c:v>6.3155571723745858</c:v>
                </c:pt>
                <c:pt idx="33">
                  <c:v>11.32091771903775</c:v>
                </c:pt>
                <c:pt idx="34">
                  <c:v>14.954666173159271</c:v>
                </c:pt>
                <c:pt idx="35">
                  <c:v>19.622241652256211</c:v>
                </c:pt>
                <c:pt idx="36">
                  <c:v>26.87950264936088</c:v>
                </c:pt>
                <c:pt idx="37">
                  <c:v>31.004574838124185</c:v>
                </c:pt>
                <c:pt idx="38">
                  <c:v>37.013054676347657</c:v>
                </c:pt>
                <c:pt idx="39">
                  <c:v>46.89070892487517</c:v>
                </c:pt>
                <c:pt idx="40">
                  <c:v>70.955336011184158</c:v>
                </c:pt>
                <c:pt idx="41">
                  <c:v>144.56177300720628</c:v>
                </c:pt>
                <c:pt idx="42">
                  <c:v>246.85946892408086</c:v>
                </c:pt>
                <c:pt idx="43">
                  <c:v>362.02370514188715</c:v>
                </c:pt>
                <c:pt idx="44">
                  <c:v>520.46537365272377</c:v>
                </c:pt>
                <c:pt idx="45">
                  <c:v>663.82954505674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E$2:$E$47</c:f>
              <c:numCache>
                <c:formatCode>General</c:formatCode>
                <c:ptCount val="46"/>
                <c:pt idx="0">
                  <c:v>174.87645988549434</c:v>
                </c:pt>
                <c:pt idx="1">
                  <c:v>142.94541478260453</c:v>
                </c:pt>
                <c:pt idx="2">
                  <c:v>114.85003897773473</c:v>
                </c:pt>
                <c:pt idx="3">
                  <c:v>93.936623272260931</c:v>
                </c:pt>
                <c:pt idx="4">
                  <c:v>77.618796299399165</c:v>
                </c:pt>
                <c:pt idx="5">
                  <c:v>61.086941384516216</c:v>
                </c:pt>
                <c:pt idx="6">
                  <c:v>62.992751991839619</c:v>
                </c:pt>
                <c:pt idx="7">
                  <c:v>67.753070095557831</c:v>
                </c:pt>
                <c:pt idx="8">
                  <c:v>70.186736132922221</c:v>
                </c:pt>
                <c:pt idx="9">
                  <c:v>85.7434412670233</c:v>
                </c:pt>
                <c:pt idx="10">
                  <c:v>111.31978033855397</c:v>
                </c:pt>
                <c:pt idx="11">
                  <c:v>139.80233028573176</c:v>
                </c:pt>
                <c:pt idx="12">
                  <c:v>132.38229416094137</c:v>
                </c:pt>
                <c:pt idx="13">
                  <c:v>142.20232900637373</c:v>
                </c:pt>
                <c:pt idx="14">
                  <c:v>170.81714341210392</c:v>
                </c:pt>
                <c:pt idx="15">
                  <c:v>174.05401543413205</c:v>
                </c:pt>
                <c:pt idx="16">
                  <c:v>150.05523063188107</c:v>
                </c:pt>
                <c:pt idx="17">
                  <c:v>121.422380163621</c:v>
                </c:pt>
                <c:pt idx="18">
                  <c:v>85.150656011874759</c:v>
                </c:pt>
                <c:pt idx="19">
                  <c:v>63.361890071617715</c:v>
                </c:pt>
                <c:pt idx="20">
                  <c:v>35.917014921992049</c:v>
                </c:pt>
                <c:pt idx="21">
                  <c:v>24.858503782841673</c:v>
                </c:pt>
                <c:pt idx="22">
                  <c:v>16.86973048627593</c:v>
                </c:pt>
                <c:pt idx="23">
                  <c:v>8.7378710936398587</c:v>
                </c:pt>
                <c:pt idx="24">
                  <c:v>5.7919808804270252</c:v>
                </c:pt>
                <c:pt idx="25">
                  <c:v>4.203604973629413</c:v>
                </c:pt>
                <c:pt idx="26">
                  <c:v>6.6973912194267253</c:v>
                </c:pt>
                <c:pt idx="27">
                  <c:v>10.93466350977857</c:v>
                </c:pt>
                <c:pt idx="28">
                  <c:v>15.181555033479682</c:v>
                </c:pt>
                <c:pt idx="29">
                  <c:v>18.637264614203634</c:v>
                </c:pt>
                <c:pt idx="30">
                  <c:v>24.544676294821858</c:v>
                </c:pt>
                <c:pt idx="31">
                  <c:v>38.549077647185065</c:v>
                </c:pt>
                <c:pt idx="32">
                  <c:v>59.664497252993456</c:v>
                </c:pt>
                <c:pt idx="33">
                  <c:v>79.756670911273616</c:v>
                </c:pt>
                <c:pt idx="34">
                  <c:v>89.789531294558472</c:v>
                </c:pt>
                <c:pt idx="35">
                  <c:v>86.159473109379064</c:v>
                </c:pt>
                <c:pt idx="36">
                  <c:v>73.870902505691248</c:v>
                </c:pt>
                <c:pt idx="37">
                  <c:v>64.447661035916155</c:v>
                </c:pt>
                <c:pt idx="38">
                  <c:v>67.881727341604261</c:v>
                </c:pt>
                <c:pt idx="39">
                  <c:v>69.662487915387203</c:v>
                </c:pt>
                <c:pt idx="40">
                  <c:v>78.446050367436072</c:v>
                </c:pt>
                <c:pt idx="41">
                  <c:v>117.14783334404073</c:v>
                </c:pt>
                <c:pt idx="42">
                  <c:v>164.49129508079261</c:v>
                </c:pt>
                <c:pt idx="43">
                  <c:v>213.5962789246289</c:v>
                </c:pt>
                <c:pt idx="44">
                  <c:v>325.39461612230883</c:v>
                </c:pt>
                <c:pt idx="45">
                  <c:v>406.433049877372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G$2:$G$47</c:f>
              <c:numCache>
                <c:formatCode>General</c:formatCode>
                <c:ptCount val="46"/>
                <c:pt idx="0">
                  <c:v>297.64036769029133</c:v>
                </c:pt>
                <c:pt idx="1">
                  <c:v>229.10702432301784</c:v>
                </c:pt>
                <c:pt idx="2">
                  <c:v>209.82232745093589</c:v>
                </c:pt>
                <c:pt idx="3">
                  <c:v>170.67272686015895</c:v>
                </c:pt>
                <c:pt idx="4">
                  <c:v>156.98329205343532</c:v>
                </c:pt>
                <c:pt idx="5">
                  <c:v>135.22840761656485</c:v>
                </c:pt>
                <c:pt idx="6">
                  <c:v>157.06946138709074</c:v>
                </c:pt>
                <c:pt idx="7">
                  <c:v>183.75323170905097</c:v>
                </c:pt>
                <c:pt idx="8">
                  <c:v>179.86986707231358</c:v>
                </c:pt>
                <c:pt idx="9">
                  <c:v>212.71761706175784</c:v>
                </c:pt>
                <c:pt idx="10">
                  <c:v>255.07846148675995</c:v>
                </c:pt>
                <c:pt idx="11">
                  <c:v>292.75743878315114</c:v>
                </c:pt>
                <c:pt idx="12">
                  <c:v>285.83516897949943</c:v>
                </c:pt>
                <c:pt idx="13">
                  <c:v>278.52226486327658</c:v>
                </c:pt>
                <c:pt idx="14">
                  <c:v>305.49326629742148</c:v>
                </c:pt>
                <c:pt idx="15">
                  <c:v>329.44259643138321</c:v>
                </c:pt>
                <c:pt idx="16">
                  <c:v>266.96982953120727</c:v>
                </c:pt>
                <c:pt idx="17">
                  <c:v>301.38011677093635</c:v>
                </c:pt>
                <c:pt idx="18">
                  <c:v>219.31818801976263</c:v>
                </c:pt>
                <c:pt idx="19">
                  <c:v>161.31473722518086</c:v>
                </c:pt>
                <c:pt idx="20">
                  <c:v>121.38961263150519</c:v>
                </c:pt>
                <c:pt idx="21">
                  <c:v>91.345238296983766</c:v>
                </c:pt>
                <c:pt idx="22">
                  <c:v>56.866015590330306</c:v>
                </c:pt>
                <c:pt idx="23">
                  <c:v>36.156652401812195</c:v>
                </c:pt>
                <c:pt idx="24">
                  <c:v>24.874214315196511</c:v>
                </c:pt>
                <c:pt idx="25">
                  <c:v>33.393489102595218</c:v>
                </c:pt>
                <c:pt idx="26">
                  <c:v>224.67217595088579</c:v>
                </c:pt>
                <c:pt idx="27">
                  <c:v>402.76121012765407</c:v>
                </c:pt>
                <c:pt idx="28">
                  <c:v>258.37587465464048</c:v>
                </c:pt>
                <c:pt idx="29">
                  <c:v>140.14580425716721</c:v>
                </c:pt>
                <c:pt idx="30">
                  <c:v>103.61000678727119</c:v>
                </c:pt>
                <c:pt idx="31">
                  <c:v>92.563098212646949</c:v>
                </c:pt>
                <c:pt idx="32">
                  <c:v>97.187519118820902</c:v>
                </c:pt>
                <c:pt idx="33">
                  <c:v>102.42661460507016</c:v>
                </c:pt>
                <c:pt idx="34">
                  <c:v>101.43853957915471</c:v>
                </c:pt>
                <c:pt idx="35">
                  <c:v>96.027105425594641</c:v>
                </c:pt>
                <c:pt idx="36">
                  <c:v>80.556837723325771</c:v>
                </c:pt>
                <c:pt idx="37">
                  <c:v>66.71229811602241</c:v>
                </c:pt>
                <c:pt idx="38">
                  <c:v>66.310174558963809</c:v>
                </c:pt>
                <c:pt idx="39">
                  <c:v>92.677990657520837</c:v>
                </c:pt>
                <c:pt idx="40">
                  <c:v>135.18245063861531</c:v>
                </c:pt>
                <c:pt idx="41">
                  <c:v>200.13689434806724</c:v>
                </c:pt>
                <c:pt idx="42">
                  <c:v>284.20944088453393</c:v>
                </c:pt>
                <c:pt idx="43">
                  <c:v>396.04000210253173</c:v>
                </c:pt>
                <c:pt idx="44">
                  <c:v>540.28746664169671</c:v>
                </c:pt>
                <c:pt idx="45">
                  <c:v>846.096687162521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J$2:$J$47</c:f>
              <c:numCache>
                <c:formatCode>General</c:formatCode>
                <c:ptCount val="46"/>
                <c:pt idx="0">
                  <c:v>177.08719010400353</c:v>
                </c:pt>
                <c:pt idx="1">
                  <c:v>127.97782652036304</c:v>
                </c:pt>
                <c:pt idx="2">
                  <c:v>102.60777280487257</c:v>
                </c:pt>
                <c:pt idx="3">
                  <c:v>99.48591261246797</c:v>
                </c:pt>
                <c:pt idx="4">
                  <c:v>96.933100353868781</c:v>
                </c:pt>
                <c:pt idx="5">
                  <c:v>102.25475232741921</c:v>
                </c:pt>
                <c:pt idx="6">
                  <c:v>134.76425002722738</c:v>
                </c:pt>
                <c:pt idx="7">
                  <c:v>182.10324226125107</c:v>
                </c:pt>
                <c:pt idx="8">
                  <c:v>235.57267218955786</c:v>
                </c:pt>
                <c:pt idx="9">
                  <c:v>308.46876630249881</c:v>
                </c:pt>
                <c:pt idx="10">
                  <c:v>409.79881573748429</c:v>
                </c:pt>
                <c:pt idx="11">
                  <c:v>511.10515484189449</c:v>
                </c:pt>
                <c:pt idx="12">
                  <c:v>475.56073482845761</c:v>
                </c:pt>
                <c:pt idx="13">
                  <c:v>363.9377674426496</c:v>
                </c:pt>
                <c:pt idx="14">
                  <c:v>286.40762094283969</c:v>
                </c:pt>
                <c:pt idx="15">
                  <c:v>176.51814217019813</c:v>
                </c:pt>
                <c:pt idx="16">
                  <c:v>114.43395879955965</c:v>
                </c:pt>
                <c:pt idx="17">
                  <c:v>77.274601825832448</c:v>
                </c:pt>
                <c:pt idx="18">
                  <c:v>54.109608853837884</c:v>
                </c:pt>
                <c:pt idx="19">
                  <c:v>28.974023962924633</c:v>
                </c:pt>
                <c:pt idx="20">
                  <c:v>16.128293753502874</c:v>
                </c:pt>
                <c:pt idx="21">
                  <c:v>8.0509744708763105</c:v>
                </c:pt>
                <c:pt idx="22">
                  <c:v>5.6377897145534375</c:v>
                </c:pt>
                <c:pt idx="23">
                  <c:v>3.2246049582305645</c:v>
                </c:pt>
                <c:pt idx="24">
                  <c:v>2.2287710740711253</c:v>
                </c:pt>
                <c:pt idx="25">
                  <c:v>1.630743847340457</c:v>
                </c:pt>
                <c:pt idx="26">
                  <c:v>1.4753094580139838</c:v>
                </c:pt>
                <c:pt idx="27">
                  <c:v>1.6570886590907066</c:v>
                </c:pt>
                <c:pt idx="28">
                  <c:v>1.9442471071684286</c:v>
                </c:pt>
                <c:pt idx="29">
                  <c:v>2.3604951328223742</c:v>
                </c:pt>
                <c:pt idx="30">
                  <c:v>2.7451293843760198</c:v>
                </c:pt>
                <c:pt idx="31">
                  <c:v>3.4274600087074871</c:v>
                </c:pt>
                <c:pt idx="32">
                  <c:v>3.5565495862837109</c:v>
                </c:pt>
                <c:pt idx="33">
                  <c:v>4.2467836541402537</c:v>
                </c:pt>
                <c:pt idx="34">
                  <c:v>6.014520522582008</c:v>
                </c:pt>
                <c:pt idx="35">
                  <c:v>8.5646983000061798</c:v>
                </c:pt>
                <c:pt idx="36">
                  <c:v>11.539027546609372</c:v>
                </c:pt>
                <c:pt idx="37">
                  <c:v>14.115550135783794</c:v>
                </c:pt>
                <c:pt idx="38">
                  <c:v>20.801863357997171</c:v>
                </c:pt>
                <c:pt idx="39">
                  <c:v>30.970960693593558</c:v>
                </c:pt>
                <c:pt idx="40">
                  <c:v>46.946454538944984</c:v>
                </c:pt>
                <c:pt idx="41">
                  <c:v>91.564027719167896</c:v>
                </c:pt>
                <c:pt idx="42">
                  <c:v>142.98646577448031</c:v>
                </c:pt>
                <c:pt idx="43">
                  <c:v>214.39934698588218</c:v>
                </c:pt>
                <c:pt idx="44">
                  <c:v>269.99743770360914</c:v>
                </c:pt>
                <c:pt idx="45">
                  <c:v>378.627634474588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B$2:$B$47</c:f>
              <c:numCache>
                <c:formatCode>General</c:formatCode>
                <c:ptCount val="46"/>
                <c:pt idx="0">
                  <c:v>164.41854591765659</c:v>
                </c:pt>
                <c:pt idx="1">
                  <c:v>122.99653165059817</c:v>
                </c:pt>
                <c:pt idx="2">
                  <c:v>114.15489204436683</c:v>
                </c:pt>
                <c:pt idx="3">
                  <c:v>106.84115966360875</c:v>
                </c:pt>
                <c:pt idx="4">
                  <c:v>102.41472255451708</c:v>
                </c:pt>
                <c:pt idx="5">
                  <c:v>106.32436751381633</c:v>
                </c:pt>
                <c:pt idx="6">
                  <c:v>130.73717928553259</c:v>
                </c:pt>
                <c:pt idx="7">
                  <c:v>159.56519355438857</c:v>
                </c:pt>
                <c:pt idx="8">
                  <c:v>183.56232468388049</c:v>
                </c:pt>
                <c:pt idx="9">
                  <c:v>204.81821049708216</c:v>
                </c:pt>
                <c:pt idx="10">
                  <c:v>236.97166990373285</c:v>
                </c:pt>
                <c:pt idx="11">
                  <c:v>250.74530415689628</c:v>
                </c:pt>
                <c:pt idx="12">
                  <c:v>233.52264403446597</c:v>
                </c:pt>
                <c:pt idx="13">
                  <c:v>197.81904725098033</c:v>
                </c:pt>
                <c:pt idx="14">
                  <c:v>188.95493842084497</c:v>
                </c:pt>
                <c:pt idx="15">
                  <c:v>169.04720604188444</c:v>
                </c:pt>
                <c:pt idx="16">
                  <c:v>140.80339159453297</c:v>
                </c:pt>
                <c:pt idx="17">
                  <c:v>101.31373058322016</c:v>
                </c:pt>
                <c:pt idx="18">
                  <c:v>64.396795708917494</c:v>
                </c:pt>
                <c:pt idx="19">
                  <c:v>46.679812660598778</c:v>
                </c:pt>
                <c:pt idx="20">
                  <c:v>35.490139156397483</c:v>
                </c:pt>
                <c:pt idx="21">
                  <c:v>27.221464759718611</c:v>
                </c:pt>
                <c:pt idx="22">
                  <c:v>18.919086527183715</c:v>
                </c:pt>
                <c:pt idx="23">
                  <c:v>11.257081175913353</c:v>
                </c:pt>
                <c:pt idx="24">
                  <c:v>7.6283015154143374</c:v>
                </c:pt>
                <c:pt idx="25">
                  <c:v>7.1002747536698987</c:v>
                </c:pt>
                <c:pt idx="26">
                  <c:v>12.245727027690174</c:v>
                </c:pt>
                <c:pt idx="27">
                  <c:v>24.626269398804457</c:v>
                </c:pt>
                <c:pt idx="28">
                  <c:v>28.423568238583613</c:v>
                </c:pt>
                <c:pt idx="29">
                  <c:v>36.523723455982342</c:v>
                </c:pt>
                <c:pt idx="30">
                  <c:v>41.186087416066215</c:v>
                </c:pt>
                <c:pt idx="31">
                  <c:v>66.228037457095027</c:v>
                </c:pt>
                <c:pt idx="32">
                  <c:v>90.573441557099244</c:v>
                </c:pt>
                <c:pt idx="33">
                  <c:v>106.03226760306408</c:v>
                </c:pt>
                <c:pt idx="34">
                  <c:v>127.02975734136953</c:v>
                </c:pt>
                <c:pt idx="35">
                  <c:v>157.90247098549116</c:v>
                </c:pt>
                <c:pt idx="36">
                  <c:v>154.35233360865621</c:v>
                </c:pt>
                <c:pt idx="37">
                  <c:v>131.99545582415766</c:v>
                </c:pt>
                <c:pt idx="38">
                  <c:v>141.49993753555756</c:v>
                </c:pt>
                <c:pt idx="39">
                  <c:v>143.58957535863129</c:v>
                </c:pt>
                <c:pt idx="40">
                  <c:v>172.56363958286335</c:v>
                </c:pt>
                <c:pt idx="41">
                  <c:v>268.18142190641476</c:v>
                </c:pt>
                <c:pt idx="42">
                  <c:v>388.95350039051516</c:v>
                </c:pt>
                <c:pt idx="43">
                  <c:v>636.54187858889679</c:v>
                </c:pt>
                <c:pt idx="44">
                  <c:v>888.9836091505465</c:v>
                </c:pt>
                <c:pt idx="45">
                  <c:v>1103.49728976221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L$2:$L$47</c:f>
              <c:numCache>
                <c:formatCode>General</c:formatCode>
                <c:ptCount val="46"/>
                <c:pt idx="0">
                  <c:v>793.99062601859737</c:v>
                </c:pt>
                <c:pt idx="1">
                  <c:v>546.98964230204695</c:v>
                </c:pt>
                <c:pt idx="2">
                  <c:v>697.4145422584952</c:v>
                </c:pt>
                <c:pt idx="3">
                  <c:v>580.24435526440425</c:v>
                </c:pt>
                <c:pt idx="4">
                  <c:v>665.62560176830789</c:v>
                </c:pt>
                <c:pt idx="5">
                  <c:v>623.6861869083433</c:v>
                </c:pt>
                <c:pt idx="6">
                  <c:v>666.24855506898018</c:v>
                </c:pt>
                <c:pt idx="7">
                  <c:v>679.91688337196558</c:v>
                </c:pt>
                <c:pt idx="8">
                  <c:v>611.55691970113628</c:v>
                </c:pt>
                <c:pt idx="9">
                  <c:v>520.78895936200786</c:v>
                </c:pt>
                <c:pt idx="10">
                  <c:v>430.47905292043254</c:v>
                </c:pt>
                <c:pt idx="11">
                  <c:v>349.55009030074535</c:v>
                </c:pt>
                <c:pt idx="12">
                  <c:v>271.71757202851734</c:v>
                </c:pt>
                <c:pt idx="13">
                  <c:v>215.57848634440558</c:v>
                </c:pt>
                <c:pt idx="14">
                  <c:v>179.04410747556787</c:v>
                </c:pt>
                <c:pt idx="15">
                  <c:v>152.36704848207353</c:v>
                </c:pt>
                <c:pt idx="16">
                  <c:v>125.61670086497065</c:v>
                </c:pt>
                <c:pt idx="17">
                  <c:v>90.914537586345446</c:v>
                </c:pt>
                <c:pt idx="18">
                  <c:v>68.506540918046284</c:v>
                </c:pt>
                <c:pt idx="19">
                  <c:v>44.834315492500465</c:v>
                </c:pt>
                <c:pt idx="20">
                  <c:v>34.409008784191201</c:v>
                </c:pt>
                <c:pt idx="21">
                  <c:v>26.273971563647599</c:v>
                </c:pt>
                <c:pt idx="22">
                  <c:v>18.358800213929491</c:v>
                </c:pt>
                <c:pt idx="23">
                  <c:v>9.5275210691051253</c:v>
                </c:pt>
                <c:pt idx="24">
                  <c:v>7.1273186459267199</c:v>
                </c:pt>
                <c:pt idx="25">
                  <c:v>4.1774515456845549</c:v>
                </c:pt>
                <c:pt idx="26">
                  <c:v>4.2873844810973063</c:v>
                </c:pt>
                <c:pt idx="27">
                  <c:v>3.9392635189569267</c:v>
                </c:pt>
                <c:pt idx="28">
                  <c:v>5.8264455768758268</c:v>
                </c:pt>
                <c:pt idx="29">
                  <c:v>7.6586611670883515</c:v>
                </c:pt>
                <c:pt idx="30">
                  <c:v>7.7319497906968531</c:v>
                </c:pt>
                <c:pt idx="31">
                  <c:v>10.406984552407136</c:v>
                </c:pt>
                <c:pt idx="32">
                  <c:v>12.40409954573879</c:v>
                </c:pt>
                <c:pt idx="33">
                  <c:v>15.042489995644823</c:v>
                </c:pt>
                <c:pt idx="34">
                  <c:v>31.385853060340537</c:v>
                </c:pt>
                <c:pt idx="35">
                  <c:v>56.249018619524492</c:v>
                </c:pt>
                <c:pt idx="36">
                  <c:v>90.236617817966817</c:v>
                </c:pt>
                <c:pt idx="37">
                  <c:v>120.19334271794159</c:v>
                </c:pt>
                <c:pt idx="38">
                  <c:v>160.44711923491076</c:v>
                </c:pt>
                <c:pt idx="39">
                  <c:v>200.57264066056504</c:v>
                </c:pt>
                <c:pt idx="40">
                  <c:v>246.39635257178026</c:v>
                </c:pt>
                <c:pt idx="41">
                  <c:v>411.77213174436264</c:v>
                </c:pt>
                <c:pt idx="42">
                  <c:v>601.91946569661843</c:v>
                </c:pt>
                <c:pt idx="43">
                  <c:v>790.49109424129142</c:v>
                </c:pt>
                <c:pt idx="44">
                  <c:v>940.49458461199083</c:v>
                </c:pt>
                <c:pt idx="45">
                  <c:v>1097.71700440812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7</c:f>
              <c:numCache>
                <c:formatCode>General</c:formatCode>
                <c:ptCount val="46"/>
                <c:pt idx="0">
                  <c:v>395.54544779631226</c:v>
                </c:pt>
                <c:pt idx="1">
                  <c:v>505.33866563972151</c:v>
                </c:pt>
                <c:pt idx="2">
                  <c:v>502.93017833327355</c:v>
                </c:pt>
                <c:pt idx="3">
                  <c:v>378.1663104429432</c:v>
                </c:pt>
                <c:pt idx="4">
                  <c:v>235.80147084207096</c:v>
                </c:pt>
                <c:pt idx="5">
                  <c:v>140.00283187402243</c:v>
                </c:pt>
                <c:pt idx="6">
                  <c:v>97.659934860136815</c:v>
                </c:pt>
                <c:pt idx="7">
                  <c:v>77.616672512530144</c:v>
                </c:pt>
                <c:pt idx="8">
                  <c:v>70.355294554405987</c:v>
                </c:pt>
                <c:pt idx="9">
                  <c:v>69.115134862401646</c:v>
                </c:pt>
                <c:pt idx="10">
                  <c:v>75.668755585736292</c:v>
                </c:pt>
                <c:pt idx="11">
                  <c:v>92.67183088599333</c:v>
                </c:pt>
                <c:pt idx="12">
                  <c:v>102.55296696692054</c:v>
                </c:pt>
                <c:pt idx="13">
                  <c:v>124.36245333925567</c:v>
                </c:pt>
                <c:pt idx="14">
                  <c:v>123.55539882077926</c:v>
                </c:pt>
                <c:pt idx="15">
                  <c:v>119.41026540389255</c:v>
                </c:pt>
                <c:pt idx="16">
                  <c:v>104.90652386111616</c:v>
                </c:pt>
                <c:pt idx="17">
                  <c:v>84.694244860425414</c:v>
                </c:pt>
                <c:pt idx="18">
                  <c:v>71.29122427085899</c:v>
                </c:pt>
                <c:pt idx="19">
                  <c:v>67.777790594873977</c:v>
                </c:pt>
                <c:pt idx="20">
                  <c:v>63.922098196393719</c:v>
                </c:pt>
                <c:pt idx="21">
                  <c:v>58.724836114058689</c:v>
                </c:pt>
                <c:pt idx="22">
                  <c:v>49.403567696472457</c:v>
                </c:pt>
                <c:pt idx="23">
                  <c:v>51.780364380467134</c:v>
                </c:pt>
                <c:pt idx="24">
                  <c:v>75.736362246969918</c:v>
                </c:pt>
                <c:pt idx="25">
                  <c:v>190.20077783999</c:v>
                </c:pt>
                <c:pt idx="26">
                  <c:v>306.81593034350482</c:v>
                </c:pt>
                <c:pt idx="27">
                  <c:v>390.36720008744925</c:v>
                </c:pt>
                <c:pt idx="28">
                  <c:v>389.97001095270167</c:v>
                </c:pt>
                <c:pt idx="29">
                  <c:v>331.43531857336257</c:v>
                </c:pt>
                <c:pt idx="30">
                  <c:v>250.56085007263704</c:v>
                </c:pt>
                <c:pt idx="31">
                  <c:v>190.53036031350393</c:v>
                </c:pt>
                <c:pt idx="32">
                  <c:v>144.01909009293254</c:v>
                </c:pt>
                <c:pt idx="33">
                  <c:v>108.52559294527872</c:v>
                </c:pt>
                <c:pt idx="34">
                  <c:v>71.779259856639229</c:v>
                </c:pt>
                <c:pt idx="35">
                  <c:v>49.027505643360406</c:v>
                </c:pt>
                <c:pt idx="36">
                  <c:v>37.648459474475679</c:v>
                </c:pt>
                <c:pt idx="37">
                  <c:v>30.642719204141144</c:v>
                </c:pt>
                <c:pt idx="38">
                  <c:v>25.821519174918166</c:v>
                </c:pt>
                <c:pt idx="39">
                  <c:v>22.079913017269657</c:v>
                </c:pt>
                <c:pt idx="40">
                  <c:v>22.54682152141439</c:v>
                </c:pt>
                <c:pt idx="41">
                  <c:v>25.94405624840411</c:v>
                </c:pt>
                <c:pt idx="42">
                  <c:v>28.037750038482976</c:v>
                </c:pt>
                <c:pt idx="43">
                  <c:v>33.594172508621647</c:v>
                </c:pt>
                <c:pt idx="44">
                  <c:v>53.246583845971408</c:v>
                </c:pt>
                <c:pt idx="45">
                  <c:v>79.1864146780484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H$2:$H$47</c:f>
              <c:numCache>
                <c:formatCode>General</c:formatCode>
                <c:ptCount val="46"/>
                <c:pt idx="0">
                  <c:v>613.53341249011919</c:v>
                </c:pt>
                <c:pt idx="1">
                  <c:v>475.47847694021954</c:v>
                </c:pt>
                <c:pt idx="2">
                  <c:v>369.53350905217076</c:v>
                </c:pt>
                <c:pt idx="3">
                  <c:v>249.35842142379863</c:v>
                </c:pt>
                <c:pt idx="4">
                  <c:v>209.53318698275956</c:v>
                </c:pt>
                <c:pt idx="5">
                  <c:v>115.03696385636273</c:v>
                </c:pt>
                <c:pt idx="6">
                  <c:v>113.76896247939847</c:v>
                </c:pt>
                <c:pt idx="7">
                  <c:v>89.69309855942555</c:v>
                </c:pt>
                <c:pt idx="8">
                  <c:v>61.660423853630149</c:v>
                </c:pt>
                <c:pt idx="9">
                  <c:v>58.651308187323266</c:v>
                </c:pt>
                <c:pt idx="10">
                  <c:v>56.04624857972459</c:v>
                </c:pt>
                <c:pt idx="11">
                  <c:v>53.569017616153587</c:v>
                </c:pt>
                <c:pt idx="12">
                  <c:v>38.710039719004428</c:v>
                </c:pt>
                <c:pt idx="13">
                  <c:v>20.50400836099244</c:v>
                </c:pt>
                <c:pt idx="14">
                  <c:v>21.270980225158549</c:v>
                </c:pt>
                <c:pt idx="15">
                  <c:v>25.069107177015621</c:v>
                </c:pt>
                <c:pt idx="16">
                  <c:v>22.50812641218511</c:v>
                </c:pt>
                <c:pt idx="17">
                  <c:v>21.53839187128543</c:v>
                </c:pt>
                <c:pt idx="18">
                  <c:v>23.386764678030573</c:v>
                </c:pt>
                <c:pt idx="19">
                  <c:v>17.28037565988048</c:v>
                </c:pt>
                <c:pt idx="20">
                  <c:v>31.616284622847388</c:v>
                </c:pt>
                <c:pt idx="21">
                  <c:v>48.245762704517936</c:v>
                </c:pt>
                <c:pt idx="22">
                  <c:v>83.05482483853956</c:v>
                </c:pt>
                <c:pt idx="23">
                  <c:v>83.192938545879827</c:v>
                </c:pt>
                <c:pt idx="24">
                  <c:v>150.44696754679038</c:v>
                </c:pt>
                <c:pt idx="25">
                  <c:v>291.0658224510384</c:v>
                </c:pt>
                <c:pt idx="26">
                  <c:v>280.21214206675677</c:v>
                </c:pt>
                <c:pt idx="27">
                  <c:v>459.43965535164244</c:v>
                </c:pt>
                <c:pt idx="28">
                  <c:v>387.85414540137998</c:v>
                </c:pt>
                <c:pt idx="29">
                  <c:v>268.52096366987985</c:v>
                </c:pt>
                <c:pt idx="30">
                  <c:v>313.80609743513588</c:v>
                </c:pt>
                <c:pt idx="31">
                  <c:v>254.47303647966498</c:v>
                </c:pt>
                <c:pt idx="32">
                  <c:v>331.2804200031963</c:v>
                </c:pt>
                <c:pt idx="33">
                  <c:v>350.45177801783115</c:v>
                </c:pt>
                <c:pt idx="34">
                  <c:v>362.47942491450505</c:v>
                </c:pt>
                <c:pt idx="35">
                  <c:v>364.60549443068965</c:v>
                </c:pt>
                <c:pt idx="36">
                  <c:v>298.95740460129929</c:v>
                </c:pt>
                <c:pt idx="37">
                  <c:v>344.52611225503057</c:v>
                </c:pt>
                <c:pt idx="38">
                  <c:v>347.41474575110442</c:v>
                </c:pt>
                <c:pt idx="39">
                  <c:v>430.63413160264514</c:v>
                </c:pt>
                <c:pt idx="40">
                  <c:v>375.25200425396093</c:v>
                </c:pt>
                <c:pt idx="41">
                  <c:v>476.79937292850559</c:v>
                </c:pt>
                <c:pt idx="42">
                  <c:v>459.33827401327562</c:v>
                </c:pt>
                <c:pt idx="43">
                  <c:v>316.79464297481763</c:v>
                </c:pt>
                <c:pt idx="44">
                  <c:v>380.82650856937516</c:v>
                </c:pt>
                <c:pt idx="45">
                  <c:v>417.857144378912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4363240"/>
        <c:axId val="354365200"/>
      </c:lineChart>
      <c:catAx>
        <c:axId val="354363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200"/>
        <c:crosses val="autoZero"/>
        <c:auto val="1"/>
        <c:lblAlgn val="ctr"/>
        <c:lblOffset val="100"/>
        <c:tickLblSkip val="1"/>
        <c:noMultiLvlLbl val="1"/>
      </c:catAx>
      <c:valAx>
        <c:axId val="354365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3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8.196552666510501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% změna 44. vs. 43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13-493D-97B1-A5AA545BC17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13-493D-97B1-A5AA545BC17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813-493D-97B1-A5AA545BC17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813-493D-97B1-A5AA545BC174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C9C-4C43-B6C0-8405007F8E99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C9C-4C43-B6C0-8405007F8E99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A68-4805-8D52-B9B59E53E580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A68-4805-8D52-B9B59E53E580}"/>
              </c:ext>
            </c:extLst>
          </c:dPt>
          <c:cat>
            <c:strRef>
              <c:f>List1!$A$2:$A$32</c:f>
              <c:strCache>
                <c:ptCount val="31"/>
                <c:pt idx="0">
                  <c:v>Lichtenštejnsko</c:v>
                </c:pt>
                <c:pt idx="1">
                  <c:v>Francie</c:v>
                </c:pt>
                <c:pt idx="2">
                  <c:v>Malta</c:v>
                </c:pt>
                <c:pt idx="3">
                  <c:v>Nizozemsko</c:v>
                </c:pt>
                <c:pt idx="4">
                  <c:v>Belgie</c:v>
                </c:pt>
                <c:pt idx="5">
                  <c:v>Španělsko</c:v>
                </c:pt>
                <c:pt idx="6">
                  <c:v>Portugalsko</c:v>
                </c:pt>
                <c:pt idx="7">
                  <c:v>Polsko</c:v>
                </c:pt>
                <c:pt idx="8">
                  <c:v>Česká republika</c:v>
                </c:pt>
                <c:pt idx="9">
                  <c:v>Kypr</c:v>
                </c:pt>
                <c:pt idx="10">
                  <c:v>Maďarsko</c:v>
                </c:pt>
                <c:pt idx="11">
                  <c:v>Německo</c:v>
                </c:pt>
                <c:pt idx="12">
                  <c:v>Rakousko</c:v>
                </c:pt>
                <c:pt idx="13">
                  <c:v>Norsko</c:v>
                </c:pt>
                <c:pt idx="14">
                  <c:v>Lucembursko</c:v>
                </c:pt>
                <c:pt idx="15">
                  <c:v>Švédsko</c:v>
                </c:pt>
                <c:pt idx="16">
                  <c:v>Finsko</c:v>
                </c:pt>
                <c:pt idx="17">
                  <c:v>Slovensko</c:v>
                </c:pt>
                <c:pt idx="18">
                  <c:v>Dánsko</c:v>
                </c:pt>
                <c:pt idx="19">
                  <c:v>Irsko</c:v>
                </c:pt>
                <c:pt idx="20">
                  <c:v>Velká Británie</c:v>
                </c:pt>
                <c:pt idx="21">
                  <c:v>Řecko</c:v>
                </c:pt>
                <c:pt idx="22">
                  <c:v>Slovinsko</c:v>
                </c:pt>
                <c:pt idx="23">
                  <c:v>Itálie</c:v>
                </c:pt>
                <c:pt idx="24">
                  <c:v>Island</c:v>
                </c:pt>
                <c:pt idx="25">
                  <c:v>Chorvatsko</c:v>
                </c:pt>
                <c:pt idx="26">
                  <c:v>Litva</c:v>
                </c:pt>
                <c:pt idx="27">
                  <c:v>Estonsko</c:v>
                </c:pt>
                <c:pt idx="28">
                  <c:v>Bulharsko</c:v>
                </c:pt>
                <c:pt idx="29">
                  <c:v>Lotyšsko</c:v>
                </c:pt>
                <c:pt idx="30">
                  <c:v>Rumunsko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2.375</c:v>
                </c:pt>
                <c:pt idx="1">
                  <c:v>1.2394341379917939</c:v>
                </c:pt>
                <c:pt idx="2">
                  <c:v>2.8777777777777778</c:v>
                </c:pt>
                <c:pt idx="3">
                  <c:v>1.3934794033229576</c:v>
                </c:pt>
                <c:pt idx="4">
                  <c:v>1.0533532693920717</c:v>
                </c:pt>
                <c:pt idx="5">
                  <c:v>1.1981764750207218</c:v>
                </c:pt>
                <c:pt idx="6">
                  <c:v>1.2208545806224722</c:v>
                </c:pt>
                <c:pt idx="7">
                  <c:v>1.4994380469829571</c:v>
                </c:pt>
                <c:pt idx="8">
                  <c:v>1.5551059618071728</c:v>
                </c:pt>
                <c:pt idx="9">
                  <c:v>1.3531669865642995</c:v>
                </c:pt>
                <c:pt idx="10">
                  <c:v>1.4665173943691172</c:v>
                </c:pt>
                <c:pt idx="11">
                  <c:v>1.2985263373342495</c:v>
                </c:pt>
                <c:pt idx="12">
                  <c:v>1.6365500707662979</c:v>
                </c:pt>
                <c:pt idx="13">
                  <c:v>1.4046292327475354</c:v>
                </c:pt>
                <c:pt idx="14">
                  <c:v>1.0837209302325581</c:v>
                </c:pt>
                <c:pt idx="15">
                  <c:v>0.85622462787550746</c:v>
                </c:pt>
                <c:pt idx="16">
                  <c:v>1.2345261121856868</c:v>
                </c:pt>
                <c:pt idx="17">
                  <c:v>1.3132838183367832</c:v>
                </c:pt>
                <c:pt idx="18">
                  <c:v>1.3449263157894737</c:v>
                </c:pt>
                <c:pt idx="19">
                  <c:v>1.544667383255703</c:v>
                </c:pt>
                <c:pt idx="20">
                  <c:v>0.68967612954818069</c:v>
                </c:pt>
                <c:pt idx="21">
                  <c:v>1.6243199639815404</c:v>
                </c:pt>
                <c:pt idx="22">
                  <c:v>1.2227947862988784</c:v>
                </c:pt>
                <c:pt idx="23">
                  <c:v>1.2040460628695924</c:v>
                </c:pt>
                <c:pt idx="24">
                  <c:v>1.3760399334442597</c:v>
                </c:pt>
                <c:pt idx="25">
                  <c:v>1.2208959912049944</c:v>
                </c:pt>
                <c:pt idx="26">
                  <c:v>0.85889221130570981</c:v>
                </c:pt>
                <c:pt idx="27">
                  <c:v>0.87058530923561595</c:v>
                </c:pt>
                <c:pt idx="28">
                  <c:v>0.92442812936108243</c:v>
                </c:pt>
                <c:pt idx="29">
                  <c:v>0.76572497887238922</c:v>
                </c:pt>
                <c:pt idx="30">
                  <c:v>0.66873636916183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C9C-4C43-B6C0-8405007F8E99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% změna 46. vs. 45. týden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Lichtenštejnsko</c:v>
                </c:pt>
                <c:pt idx="1">
                  <c:v>Francie</c:v>
                </c:pt>
                <c:pt idx="2">
                  <c:v>Malta</c:v>
                </c:pt>
                <c:pt idx="3">
                  <c:v>Nizozemsko</c:v>
                </c:pt>
                <c:pt idx="4">
                  <c:v>Belgie</c:v>
                </c:pt>
                <c:pt idx="5">
                  <c:v>Španělsko</c:v>
                </c:pt>
                <c:pt idx="6">
                  <c:v>Portugalsko</c:v>
                </c:pt>
                <c:pt idx="7">
                  <c:v>Polsko</c:v>
                </c:pt>
                <c:pt idx="8">
                  <c:v>Česká republika</c:v>
                </c:pt>
                <c:pt idx="9">
                  <c:v>Kypr</c:v>
                </c:pt>
                <c:pt idx="10">
                  <c:v>Maďarsko</c:v>
                </c:pt>
                <c:pt idx="11">
                  <c:v>Německo</c:v>
                </c:pt>
                <c:pt idx="12">
                  <c:v>Rakousko</c:v>
                </c:pt>
                <c:pt idx="13">
                  <c:v>Norsko</c:v>
                </c:pt>
                <c:pt idx="14">
                  <c:v>Lucembursko</c:v>
                </c:pt>
                <c:pt idx="15">
                  <c:v>Švédsko</c:v>
                </c:pt>
                <c:pt idx="16">
                  <c:v>Finsko</c:v>
                </c:pt>
                <c:pt idx="17">
                  <c:v>Slovensko</c:v>
                </c:pt>
                <c:pt idx="18">
                  <c:v>Dánsko</c:v>
                </c:pt>
                <c:pt idx="19">
                  <c:v>Irsko</c:v>
                </c:pt>
                <c:pt idx="20">
                  <c:v>Velká Británie</c:v>
                </c:pt>
                <c:pt idx="21">
                  <c:v>Řecko</c:v>
                </c:pt>
                <c:pt idx="22">
                  <c:v>Slovinsko</c:v>
                </c:pt>
                <c:pt idx="23">
                  <c:v>Itálie</c:v>
                </c:pt>
                <c:pt idx="24">
                  <c:v>Island</c:v>
                </c:pt>
                <c:pt idx="25">
                  <c:v>Chorvatsko</c:v>
                </c:pt>
                <c:pt idx="26">
                  <c:v>Litva</c:v>
                </c:pt>
                <c:pt idx="27">
                  <c:v>Estonsko</c:v>
                </c:pt>
                <c:pt idx="28">
                  <c:v>Bulharsko</c:v>
                </c:pt>
                <c:pt idx="29">
                  <c:v>Lotyšsko</c:v>
                </c:pt>
                <c:pt idx="30">
                  <c:v>Rumunsko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2.6486486486486487</c:v>
                </c:pt>
                <c:pt idx="1">
                  <c:v>1.7905786273320412</c:v>
                </c:pt>
                <c:pt idx="2">
                  <c:v>1.6018518518518519</c:v>
                </c:pt>
                <c:pt idx="3">
                  <c:v>1.5660120572880671</c:v>
                </c:pt>
                <c:pt idx="4">
                  <c:v>1.5234228352240267</c:v>
                </c:pt>
                <c:pt idx="5">
                  <c:v>1.4871642264809746</c:v>
                </c:pt>
                <c:pt idx="6">
                  <c:v>1.4825977056192883</c:v>
                </c:pt>
                <c:pt idx="7">
                  <c:v>1.4023378802958453</c:v>
                </c:pt>
                <c:pt idx="8">
                  <c:v>1.3957896655426958</c:v>
                </c:pt>
                <c:pt idx="9">
                  <c:v>1.3089190785587714</c:v>
                </c:pt>
                <c:pt idx="10">
                  <c:v>1.2754538124176451</c:v>
                </c:pt>
                <c:pt idx="11">
                  <c:v>1.2490466336560491</c:v>
                </c:pt>
                <c:pt idx="12">
                  <c:v>1.2413021774570638</c:v>
                </c:pt>
                <c:pt idx="13">
                  <c:v>1.232650643195667</c:v>
                </c:pt>
                <c:pt idx="14">
                  <c:v>1.2205005959475566</c:v>
                </c:pt>
                <c:pt idx="15">
                  <c:v>1.2180476925716246</c:v>
                </c:pt>
                <c:pt idx="16">
                  <c:v>1.1930626057529612</c:v>
                </c:pt>
                <c:pt idx="17">
                  <c:v>1.1671699362958057</c:v>
                </c:pt>
                <c:pt idx="18">
                  <c:v>1.1013617733903309</c:v>
                </c:pt>
                <c:pt idx="19">
                  <c:v>1.1000487533082601</c:v>
                </c:pt>
                <c:pt idx="20">
                  <c:v>1.0972375477448975</c:v>
                </c:pt>
                <c:pt idx="21">
                  <c:v>1.0082780383426633</c:v>
                </c:pt>
                <c:pt idx="22">
                  <c:v>0.97399620961699507</c:v>
                </c:pt>
                <c:pt idx="23">
                  <c:v>0.95973267754228542</c:v>
                </c:pt>
                <c:pt idx="24">
                  <c:v>0.90042553191489361</c:v>
                </c:pt>
                <c:pt idx="25">
                  <c:v>0.85267163299212179</c:v>
                </c:pt>
                <c:pt idx="26">
                  <c:v>0.78185840707964605</c:v>
                </c:pt>
                <c:pt idx="27">
                  <c:v>0.76992861392028555</c:v>
                </c:pt>
                <c:pt idx="28">
                  <c:v>0.76077724874533526</c:v>
                </c:pt>
                <c:pt idx="29">
                  <c:v>0.67825270079849698</c:v>
                </c:pt>
                <c:pt idx="30">
                  <c:v>0.597163538698372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1C9C-4C43-B6C0-8405007F8E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7552"/>
        <c:axId val="354365592"/>
      </c:barChart>
      <c:catAx>
        <c:axId val="354367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592"/>
        <c:crosses val="autoZero"/>
        <c:auto val="1"/>
        <c:lblAlgn val="ctr"/>
        <c:lblOffset val="100"/>
        <c:noMultiLvlLbl val="0"/>
      </c:catAx>
      <c:valAx>
        <c:axId val="354365592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132-4A67-A35E-085191B53D6A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A8A-46CC-A262-51EDB77F67BD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132-4A67-A35E-085191B53D6A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132-4A67-A35E-085191B53D6A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A8A-46CC-A262-51EDB77F67BD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A8A-46CC-A262-51EDB77F67BD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C132-4A67-A35E-085191B53D6A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C132-4A67-A35E-085191B53D6A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C132-4A67-A35E-085191B53D6A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C132-4A67-A35E-085191B53D6A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2A79-4038-AF5E-B780796E0BB4}"/>
              </c:ext>
            </c:extLst>
          </c:dPt>
          <c:cat>
            <c:strRef>
              <c:f>List1!$A$2:$A$30</c:f>
              <c:strCache>
                <c:ptCount val="29"/>
                <c:pt idx="0">
                  <c:v>Kypr</c:v>
                </c:pt>
                <c:pt idx="1">
                  <c:v>Rakousko</c:v>
                </c:pt>
                <c:pt idx="2">
                  <c:v>Dánsko</c:v>
                </c:pt>
                <c:pt idx="3">
                  <c:v>Řecko</c:v>
                </c:pt>
                <c:pt idx="4">
                  <c:v>Lucembursko</c:v>
                </c:pt>
                <c:pt idx="5">
                  <c:v>Slovinsko</c:v>
                </c:pt>
                <c:pt idx="6">
                  <c:v>Česká republika</c:v>
                </c:pt>
                <c:pt idx="7">
                  <c:v>Island</c:v>
                </c:pt>
                <c:pt idx="8">
                  <c:v>Lotyšsko</c:v>
                </c:pt>
                <c:pt idx="9">
                  <c:v>Malta</c:v>
                </c:pt>
                <c:pt idx="10">
                  <c:v>Francie</c:v>
                </c:pt>
                <c:pt idx="11">
                  <c:v>Litva</c:v>
                </c:pt>
                <c:pt idx="12">
                  <c:v>Norsko</c:v>
                </c:pt>
                <c:pt idx="13">
                  <c:v>Belgie</c:v>
                </c:pt>
                <c:pt idx="14">
                  <c:v>Portugalsko</c:v>
                </c:pt>
                <c:pt idx="15">
                  <c:v>Itálie</c:v>
                </c:pt>
                <c:pt idx="16">
                  <c:v>Slovensko</c:v>
                </c:pt>
                <c:pt idx="17">
                  <c:v>Nizozemsko</c:v>
                </c:pt>
                <c:pt idx="18">
                  <c:v>Irsko</c:v>
                </c:pt>
                <c:pt idx="19">
                  <c:v>Estonsko</c:v>
                </c:pt>
                <c:pt idx="20">
                  <c:v>Finsko</c:v>
                </c:pt>
                <c:pt idx="21">
                  <c:v>Švédsko</c:v>
                </c:pt>
                <c:pt idx="22">
                  <c:v>Španělsko</c:v>
                </c:pt>
                <c:pt idx="23">
                  <c:v>Chorvatsko</c:v>
                </c:pt>
                <c:pt idx="24">
                  <c:v>Německo</c:v>
                </c:pt>
                <c:pt idx="25">
                  <c:v>Bulharsko</c:v>
                </c:pt>
                <c:pt idx="26">
                  <c:v>Maďarsko</c:v>
                </c:pt>
                <c:pt idx="27">
                  <c:v>Rumunsko</c:v>
                </c:pt>
                <c:pt idx="28">
                  <c:v>Polsko</c:v>
                </c:pt>
              </c:strCache>
            </c:strRef>
          </c:cat>
          <c:val>
            <c:numRef>
              <c:f>List1!$B$2:$B$30</c:f>
              <c:numCache>
                <c:formatCode>General</c:formatCode>
                <c:ptCount val="29"/>
                <c:pt idx="0" formatCode="0">
                  <c:v>1701472.5142313389</c:v>
                </c:pt>
                <c:pt idx="1">
                  <c:v>1610317.8676167254</c:v>
                </c:pt>
                <c:pt idx="2">
                  <c:v>1531769.6942156155</c:v>
                </c:pt>
                <c:pt idx="3">
                  <c:v>760942.60752255551</c:v>
                </c:pt>
                <c:pt idx="4">
                  <c:v>584182.60108479694</c:v>
                </c:pt>
                <c:pt idx="5">
                  <c:v>459899.53532223753</c:v>
                </c:pt>
                <c:pt idx="6" formatCode="0">
                  <c:v>399779.91271504358</c:v>
                </c:pt>
                <c:pt idx="7">
                  <c:v>330107.59775247576</c:v>
                </c:pt>
                <c:pt idx="8">
                  <c:v>272455.58074619627</c:v>
                </c:pt>
                <c:pt idx="9">
                  <c:v>262070.41300984912</c:v>
                </c:pt>
                <c:pt idx="10">
                  <c:v>223670.51674344004</c:v>
                </c:pt>
                <c:pt idx="11">
                  <c:v>216888.86184768562</c:v>
                </c:pt>
                <c:pt idx="12">
                  <c:v>214185.0703669065</c:v>
                </c:pt>
                <c:pt idx="13">
                  <c:v>202990.59921336107</c:v>
                </c:pt>
                <c:pt idx="14" formatCode="0">
                  <c:v>200871.71516376067</c:v>
                </c:pt>
                <c:pt idx="15">
                  <c:v>191453.36045271039</c:v>
                </c:pt>
                <c:pt idx="16">
                  <c:v>189875.59805807134</c:v>
                </c:pt>
                <c:pt idx="17">
                  <c:v>187911.33864921526</c:v>
                </c:pt>
                <c:pt idx="18">
                  <c:v>175055.95797310473</c:v>
                </c:pt>
                <c:pt idx="19" formatCode="0">
                  <c:v>165045.64416513164</c:v>
                </c:pt>
                <c:pt idx="20">
                  <c:v>141061.61267133031</c:v>
                </c:pt>
                <c:pt idx="21">
                  <c:v>133740.81791984558</c:v>
                </c:pt>
                <c:pt idx="22">
                  <c:v>129318.23287849684</c:v>
                </c:pt>
                <c:pt idx="23" formatCode="0">
                  <c:v>122747.20224534981</c:v>
                </c:pt>
                <c:pt idx="24">
                  <c:v>100491.56446742256</c:v>
                </c:pt>
                <c:pt idx="25">
                  <c:v>89524.320137777817</c:v>
                </c:pt>
                <c:pt idx="26">
                  <c:v>80058.960895339231</c:v>
                </c:pt>
                <c:pt idx="27">
                  <c:v>78042.115102832351</c:v>
                </c:pt>
                <c:pt idx="28">
                  <c:v>63808.7489960650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5984"/>
        <c:axId val="354367944"/>
      </c:barChart>
      <c:catAx>
        <c:axId val="354365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944"/>
        <c:crosses val="autoZero"/>
        <c:auto val="1"/>
        <c:lblAlgn val="ctr"/>
        <c:lblOffset val="100"/>
        <c:noMultiLvlLbl val="0"/>
      </c:catAx>
      <c:valAx>
        <c:axId val="35436794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179585351877881E-2"/>
          <c:y val="4.725786302175191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C8-4C38-A27C-C7ACF4A14B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31-4F32-8B10-320319D083D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A43-4423-804C-AD52486F23B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C8-4C38-A27C-C7ACF4A14BBE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031-4F32-8B10-320319D083D6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031-4F32-8B10-320319D083D6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031-4F32-8B10-320319D083D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4031-4F32-8B10-320319D083D6}"/>
              </c:ext>
            </c:extLst>
          </c:dPt>
          <c:cat>
            <c:strRef>
              <c:f>List1!$A$2:$A$30</c:f>
              <c:strCache>
                <c:ptCount val="29"/>
                <c:pt idx="0">
                  <c:v>Polsko</c:v>
                </c:pt>
                <c:pt idx="1">
                  <c:v>Maďarsko</c:v>
                </c:pt>
                <c:pt idx="2">
                  <c:v>Belgie</c:v>
                </c:pt>
                <c:pt idx="3">
                  <c:v>Německo</c:v>
                </c:pt>
                <c:pt idx="4">
                  <c:v>Chorvatsko</c:v>
                </c:pt>
                <c:pt idx="5">
                  <c:v>Lichtenštejnsko</c:v>
                </c:pt>
                <c:pt idx="6">
                  <c:v>Irsko</c:v>
                </c:pt>
                <c:pt idx="7">
                  <c:v>Slovensko</c:v>
                </c:pt>
                <c:pt idx="8">
                  <c:v>Estonsko</c:v>
                </c:pt>
                <c:pt idx="9">
                  <c:v>Česká republika</c:v>
                </c:pt>
                <c:pt idx="10">
                  <c:v>Litva</c:v>
                </c:pt>
                <c:pt idx="11">
                  <c:v>Lotyšsko</c:v>
                </c:pt>
                <c:pt idx="12">
                  <c:v>Bulharsko</c:v>
                </c:pt>
                <c:pt idx="13">
                  <c:v>Norsko</c:v>
                </c:pt>
                <c:pt idx="14">
                  <c:v>Nizozemsko</c:v>
                </c:pt>
                <c:pt idx="15">
                  <c:v>Lucembursko</c:v>
                </c:pt>
                <c:pt idx="16">
                  <c:v>Rumunsko</c:v>
                </c:pt>
                <c:pt idx="17">
                  <c:v>Finsko</c:v>
                </c:pt>
                <c:pt idx="18">
                  <c:v>Slovinsko</c:v>
                </c:pt>
                <c:pt idx="19">
                  <c:v>Španělsko</c:v>
                </c:pt>
                <c:pt idx="20">
                  <c:v>Francie</c:v>
                </c:pt>
                <c:pt idx="21">
                  <c:v>Portugalsko</c:v>
                </c:pt>
                <c:pt idx="22">
                  <c:v>Island</c:v>
                </c:pt>
                <c:pt idx="23">
                  <c:v>Malta</c:v>
                </c:pt>
                <c:pt idx="24">
                  <c:v>Rakousko</c:v>
                </c:pt>
                <c:pt idx="25">
                  <c:v>Itálie</c:v>
                </c:pt>
                <c:pt idx="26">
                  <c:v>Dánsko</c:v>
                </c:pt>
                <c:pt idx="27">
                  <c:v>Řecko</c:v>
                </c:pt>
                <c:pt idx="28">
                  <c:v>Kypr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23570149162284468</c:v>
                </c:pt>
                <c:pt idx="1">
                  <c:v>0.22853011876850512</c:v>
                </c:pt>
                <c:pt idx="2">
                  <c:v>0.19761246367672497</c:v>
                </c:pt>
                <c:pt idx="3">
                  <c:v>0.18980930096355267</c:v>
                </c:pt>
                <c:pt idx="4">
                  <c:v>0.1891869705129047</c:v>
                </c:pt>
                <c:pt idx="5">
                  <c:v>0.17745645744331251</c:v>
                </c:pt>
                <c:pt idx="6">
                  <c:v>0.14885051513311515</c:v>
                </c:pt>
                <c:pt idx="7">
                  <c:v>0.13940784592865879</c:v>
                </c:pt>
                <c:pt idx="8">
                  <c:v>0.13554669703872438</c:v>
                </c:pt>
                <c:pt idx="9">
                  <c:v>0.12412047354136202</c:v>
                </c:pt>
                <c:pt idx="10">
                  <c:v>0.10345308480224309</c:v>
                </c:pt>
                <c:pt idx="11">
                  <c:v>9.2852223853640156E-2</c:v>
                </c:pt>
                <c:pt idx="12">
                  <c:v>9.0145268081648786E-2</c:v>
                </c:pt>
                <c:pt idx="13">
                  <c:v>8.9869153020449732E-2</c:v>
                </c:pt>
                <c:pt idx="14">
                  <c:v>8.9576159741726571E-2</c:v>
                </c:pt>
                <c:pt idx="15">
                  <c:v>8.7782123168260853E-2</c:v>
                </c:pt>
                <c:pt idx="16">
                  <c:v>8.4321140720835686E-2</c:v>
                </c:pt>
                <c:pt idx="17">
                  <c:v>6.2052951596686931E-2</c:v>
                </c:pt>
                <c:pt idx="18">
                  <c:v>5.2271867866129494E-2</c:v>
                </c:pt>
                <c:pt idx="19">
                  <c:v>4.6138570281384628E-2</c:v>
                </c:pt>
                <c:pt idx="20">
                  <c:v>4.2624717943271148E-2</c:v>
                </c:pt>
                <c:pt idx="21">
                  <c:v>4.2181143033652745E-2</c:v>
                </c:pt>
                <c:pt idx="22">
                  <c:v>4.1750023371038607E-2</c:v>
                </c:pt>
                <c:pt idx="23">
                  <c:v>2.3148529532910453E-2</c:v>
                </c:pt>
                <c:pt idx="24">
                  <c:v>1.7354411243926882E-2</c:v>
                </c:pt>
                <c:pt idx="25">
                  <c:v>1.4578773669751317E-2</c:v>
                </c:pt>
                <c:pt idx="26">
                  <c:v>1.2376865991262838E-2</c:v>
                </c:pt>
                <c:pt idx="27">
                  <c:v>9.5110212978213714E-3</c:v>
                </c:pt>
                <c:pt idx="28">
                  <c:v>5.099717813005128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6768"/>
        <c:axId val="354367160"/>
      </c:barChart>
      <c:catAx>
        <c:axId val="3543667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160"/>
        <c:crosses val="autoZero"/>
        <c:auto val="1"/>
        <c:lblAlgn val="ctr"/>
        <c:lblOffset val="100"/>
        <c:noMultiLvlLbl val="0"/>
      </c:catAx>
      <c:valAx>
        <c:axId val="354367160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6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5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457-4C08-8B8D-49B5CD97021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90-4FF7-B806-ED2F71D73D6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790-4FF7-B806-ED2F71D73D6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B55-4A16-9A6E-E29737EBB7F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FEF-4C58-AB71-BCAF2B9C942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B55-4A16-9A6E-E29737EBB7F9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FEF-4C58-AB71-BCAF2B9C942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FEF-4C58-AB71-BCAF2B9C9422}"/>
              </c:ext>
            </c:extLst>
          </c:dPt>
          <c:cat>
            <c:strRef>
              <c:f>List1!$A$2:$A$30</c:f>
              <c:strCache>
                <c:ptCount val="29"/>
                <c:pt idx="0">
                  <c:v>Polsko</c:v>
                </c:pt>
                <c:pt idx="1">
                  <c:v>Maďarsko</c:v>
                </c:pt>
                <c:pt idx="2">
                  <c:v>Německo</c:v>
                </c:pt>
                <c:pt idx="3">
                  <c:v>Lichtenštejnsko</c:v>
                </c:pt>
                <c:pt idx="4">
                  <c:v>Irsko</c:v>
                </c:pt>
                <c:pt idx="5">
                  <c:v>Belgie</c:v>
                </c:pt>
                <c:pt idx="6">
                  <c:v>Chorvatsko</c:v>
                </c:pt>
                <c:pt idx="7">
                  <c:v>Slovensko</c:v>
                </c:pt>
                <c:pt idx="8">
                  <c:v>Česká republika</c:v>
                </c:pt>
                <c:pt idx="9">
                  <c:v>Estonsko</c:v>
                </c:pt>
                <c:pt idx="10">
                  <c:v>Nizozemsko</c:v>
                </c:pt>
                <c:pt idx="11">
                  <c:v>Norsko</c:v>
                </c:pt>
                <c:pt idx="12">
                  <c:v>Lotyšsko</c:v>
                </c:pt>
                <c:pt idx="13">
                  <c:v>Litva</c:v>
                </c:pt>
                <c:pt idx="14">
                  <c:v>Lucembursko</c:v>
                </c:pt>
                <c:pt idx="15">
                  <c:v>Bulharsko</c:v>
                </c:pt>
                <c:pt idx="16">
                  <c:v>Rumunsko</c:v>
                </c:pt>
                <c:pt idx="17">
                  <c:v>Finsko</c:v>
                </c:pt>
                <c:pt idx="18">
                  <c:v>Španělsko</c:v>
                </c:pt>
                <c:pt idx="19">
                  <c:v>Francie</c:v>
                </c:pt>
                <c:pt idx="20">
                  <c:v>Slovinsko</c:v>
                </c:pt>
                <c:pt idx="21">
                  <c:v>Portugalsko</c:v>
                </c:pt>
                <c:pt idx="22">
                  <c:v>Island</c:v>
                </c:pt>
                <c:pt idx="23">
                  <c:v>Malta</c:v>
                </c:pt>
                <c:pt idx="24">
                  <c:v>Rakousko</c:v>
                </c:pt>
                <c:pt idx="25">
                  <c:v>Itálie</c:v>
                </c:pt>
                <c:pt idx="26">
                  <c:v>Dánsko</c:v>
                </c:pt>
                <c:pt idx="27">
                  <c:v>Řecko</c:v>
                </c:pt>
                <c:pt idx="28">
                  <c:v>Kypr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2228222939699312</c:v>
                </c:pt>
                <c:pt idx="1">
                  <c:v>0.22405975279264989</c:v>
                </c:pt>
                <c:pt idx="2">
                  <c:v>0.16844571450623719</c:v>
                </c:pt>
                <c:pt idx="3">
                  <c:v>0.13703703703703704</c:v>
                </c:pt>
                <c:pt idx="4">
                  <c:v>0.14555444606081497</c:v>
                </c:pt>
                <c:pt idx="5">
                  <c:v>0.40464985716880503</c:v>
                </c:pt>
                <c:pt idx="6">
                  <c:v>0.25434495167732174</c:v>
                </c:pt>
                <c:pt idx="7">
                  <c:v>0.13411173931673059</c:v>
                </c:pt>
                <c:pt idx="8">
                  <c:v>0.10958425294358504</c:v>
                </c:pt>
                <c:pt idx="9">
                  <c:v>0.14102348993288591</c:v>
                </c:pt>
                <c:pt idx="10">
                  <c:v>7.175286455293596E-2</c:v>
                </c:pt>
                <c:pt idx="11">
                  <c:v>8.1574605278600471E-2</c:v>
                </c:pt>
                <c:pt idx="12">
                  <c:v>8.9960280571283704E-2</c:v>
                </c:pt>
                <c:pt idx="13">
                  <c:v>0.11750898772914996</c:v>
                </c:pt>
                <c:pt idx="14">
                  <c:v>8.8764282691493862E-2</c:v>
                </c:pt>
                <c:pt idx="15">
                  <c:v>9.7950900603763755E-2</c:v>
                </c:pt>
                <c:pt idx="16">
                  <c:v>0.10025909543184214</c:v>
                </c:pt>
                <c:pt idx="17">
                  <c:v>5.7758275265580562E-2</c:v>
                </c:pt>
                <c:pt idx="18">
                  <c:v>3.9403822341183975E-2</c:v>
                </c:pt>
                <c:pt idx="19">
                  <c:v>3.6014190201557127E-2</c:v>
                </c:pt>
                <c:pt idx="20">
                  <c:v>5.8750113284739572E-2</c:v>
                </c:pt>
                <c:pt idx="21">
                  <c:v>3.8497526067982603E-2</c:v>
                </c:pt>
                <c:pt idx="22">
                  <c:v>4.2003288768141848E-2</c:v>
                </c:pt>
                <c:pt idx="23">
                  <c:v>1.926851025869759E-2</c:v>
                </c:pt>
                <c:pt idx="24">
                  <c:v>1.8360904816776134E-2</c:v>
                </c:pt>
                <c:pt idx="25">
                  <c:v>1.538173671066055E-2</c:v>
                </c:pt>
                <c:pt idx="26">
                  <c:v>1.2825636124081571E-2</c:v>
                </c:pt>
                <c:pt idx="27">
                  <c:v>9.4141063262745683E-3</c:v>
                </c:pt>
                <c:pt idx="28">
                  <c:v>4.446405450195268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46. týd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A$2:$A$30</c:f>
              <c:strCache>
                <c:ptCount val="29"/>
                <c:pt idx="0">
                  <c:v>Polsko</c:v>
                </c:pt>
                <c:pt idx="1">
                  <c:v>Maďarsko</c:v>
                </c:pt>
                <c:pt idx="2">
                  <c:v>Německo</c:v>
                </c:pt>
                <c:pt idx="3">
                  <c:v>Lichtenštejnsko</c:v>
                </c:pt>
                <c:pt idx="4">
                  <c:v>Irsko</c:v>
                </c:pt>
                <c:pt idx="5">
                  <c:v>Belgie</c:v>
                </c:pt>
                <c:pt idx="6">
                  <c:v>Chorvatsko</c:v>
                </c:pt>
                <c:pt idx="7">
                  <c:v>Slovensko</c:v>
                </c:pt>
                <c:pt idx="8">
                  <c:v>Česká republika</c:v>
                </c:pt>
                <c:pt idx="9">
                  <c:v>Estonsko</c:v>
                </c:pt>
                <c:pt idx="10">
                  <c:v>Nizozemsko</c:v>
                </c:pt>
                <c:pt idx="11">
                  <c:v>Norsko</c:v>
                </c:pt>
                <c:pt idx="12">
                  <c:v>Lotyšsko</c:v>
                </c:pt>
                <c:pt idx="13">
                  <c:v>Litva</c:v>
                </c:pt>
                <c:pt idx="14">
                  <c:v>Lucembursko</c:v>
                </c:pt>
                <c:pt idx="15">
                  <c:v>Bulharsko</c:v>
                </c:pt>
                <c:pt idx="16">
                  <c:v>Rumunsko</c:v>
                </c:pt>
                <c:pt idx="17">
                  <c:v>Finsko</c:v>
                </c:pt>
                <c:pt idx="18">
                  <c:v>Španělsko</c:v>
                </c:pt>
                <c:pt idx="19">
                  <c:v>Francie</c:v>
                </c:pt>
                <c:pt idx="20">
                  <c:v>Slovinsko</c:v>
                </c:pt>
                <c:pt idx="21">
                  <c:v>Portugalsko</c:v>
                </c:pt>
                <c:pt idx="22">
                  <c:v>Island</c:v>
                </c:pt>
                <c:pt idx="23">
                  <c:v>Malta</c:v>
                </c:pt>
                <c:pt idx="24">
                  <c:v>Rakousko</c:v>
                </c:pt>
                <c:pt idx="25">
                  <c:v>Itálie</c:v>
                </c:pt>
                <c:pt idx="26">
                  <c:v>Dánsko</c:v>
                </c:pt>
                <c:pt idx="27">
                  <c:v>Řecko</c:v>
                </c:pt>
                <c:pt idx="28">
                  <c:v>Kypr</c:v>
                </c:pt>
              </c:strCache>
            </c:strRef>
          </c:cat>
          <c:val>
            <c:numRef>
              <c:f>List1!$C$2:$C$30</c:f>
              <c:numCache>
                <c:formatCode>0.0%</c:formatCode>
                <c:ptCount val="29"/>
                <c:pt idx="0">
                  <c:v>0.24583406029879135</c:v>
                </c:pt>
                <c:pt idx="1">
                  <c:v>0.23216177902514462</c:v>
                </c:pt>
                <c:pt idx="2">
                  <c:v>0.21126062500000001</c:v>
                </c:pt>
                <c:pt idx="3">
                  <c:v>0.19969434538970962</c:v>
                </c:pt>
                <c:pt idx="4">
                  <c:v>0.15197906192416683</c:v>
                </c:pt>
                <c:pt idx="5">
                  <c:v>0.1479298225222524</c:v>
                </c:pt>
                <c:pt idx="6">
                  <c:v>0.14547881824748773</c:v>
                </c:pt>
                <c:pt idx="7">
                  <c:v>0.14428977409566013</c:v>
                </c:pt>
                <c:pt idx="8">
                  <c:v>0.1371549921003985</c:v>
                </c:pt>
                <c:pt idx="9">
                  <c:v>0.12903788634097707</c:v>
                </c:pt>
                <c:pt idx="10">
                  <c:v>0.10646318297340823</c:v>
                </c:pt>
                <c:pt idx="11">
                  <c:v>9.7948890383322121E-2</c:v>
                </c:pt>
                <c:pt idx="12">
                  <c:v>9.7472071281514736E-2</c:v>
                </c:pt>
                <c:pt idx="13">
                  <c:v>8.97260124915671E-2</c:v>
                </c:pt>
                <c:pt idx="14">
                  <c:v>8.6993458499702664E-2</c:v>
                </c:pt>
                <c:pt idx="15">
                  <c:v>8.1598100829047004E-2</c:v>
                </c:pt>
                <c:pt idx="16">
                  <c:v>6.6593615311564033E-2</c:v>
                </c:pt>
                <c:pt idx="17">
                  <c:v>6.6177367734427062E-2</c:v>
                </c:pt>
                <c:pt idx="18">
                  <c:v>5.2129708829685879E-2</c:v>
                </c:pt>
                <c:pt idx="19">
                  <c:v>4.7493286693034605E-2</c:v>
                </c:pt>
                <c:pt idx="20">
                  <c:v>4.6955908319221133E-2</c:v>
                </c:pt>
                <c:pt idx="21">
                  <c:v>4.5091261756992101E-2</c:v>
                </c:pt>
                <c:pt idx="22">
                  <c:v>4.14723060640508E-2</c:v>
                </c:pt>
                <c:pt idx="23">
                  <c:v>2.647689011325375E-2</c:v>
                </c:pt>
                <c:pt idx="24">
                  <c:v>1.6620435336518E-2</c:v>
                </c:pt>
                <c:pt idx="25">
                  <c:v>1.3826703192414948E-2</c:v>
                </c:pt>
                <c:pt idx="26">
                  <c:v>1.1995762530846213E-2</c:v>
                </c:pt>
                <c:pt idx="27">
                  <c:v>9.6091318267835027E-3</c:v>
                </c:pt>
                <c:pt idx="28">
                  <c:v>5.744563921235184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DCA-49BB-91DA-A5CFB36956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904824"/>
        <c:axId val="359794704"/>
      </c:barChart>
      <c:catAx>
        <c:axId val="299904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704"/>
        <c:crosses val="autoZero"/>
        <c:auto val="1"/>
        <c:lblAlgn val="ctr"/>
        <c:lblOffset val="100"/>
        <c:noMultiLvlLbl val="0"/>
      </c:catAx>
      <c:valAx>
        <c:axId val="35979470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9904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2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9535243648902862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H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H$2:$H$47</c:f>
              <c:numCache>
                <c:formatCode>0.0%</c:formatCode>
                <c:ptCount val="46"/>
                <c:pt idx="0">
                  <c:v>4.8301828152973056E-2</c:v>
                </c:pt>
                <c:pt idx="1">
                  <c:v>4.6174331460271778E-2</c:v>
                </c:pt>
                <c:pt idx="2">
                  <c:v>4.9433045529424582E-2</c:v>
                </c:pt>
                <c:pt idx="3">
                  <c:v>4.7978187114365231E-2</c:v>
                </c:pt>
                <c:pt idx="4">
                  <c:v>4.4145173514618406E-2</c:v>
                </c:pt>
                <c:pt idx="5">
                  <c:v>4.3174882981777879E-2</c:v>
                </c:pt>
                <c:pt idx="6">
                  <c:v>5.8835020756240961E-2</c:v>
                </c:pt>
                <c:pt idx="7">
                  <c:v>5.8802924366017424E-2</c:v>
                </c:pt>
                <c:pt idx="8">
                  <c:v>5.3993334475502093E-2</c:v>
                </c:pt>
                <c:pt idx="9">
                  <c:v>6.3377714003434407E-2</c:v>
                </c:pt>
                <c:pt idx="10">
                  <c:v>7.1123396631515248E-2</c:v>
                </c:pt>
                <c:pt idx="11">
                  <c:v>7.1207996129029574E-2</c:v>
                </c:pt>
                <c:pt idx="12">
                  <c:v>7.2776234876422027E-2</c:v>
                </c:pt>
                <c:pt idx="13">
                  <c:v>8.5721501581978776E-2</c:v>
                </c:pt>
                <c:pt idx="14">
                  <c:v>8.7193306315290653E-2</c:v>
                </c:pt>
                <c:pt idx="15">
                  <c:v>7.9296512430828331E-2</c:v>
                </c:pt>
                <c:pt idx="16">
                  <c:v>6.3284394445230485E-2</c:v>
                </c:pt>
                <c:pt idx="17">
                  <c:v>5.7257888364241394E-2</c:v>
                </c:pt>
                <c:pt idx="18">
                  <c:v>5.0551819512988774E-2</c:v>
                </c:pt>
                <c:pt idx="19">
                  <c:v>4.8513196711197852E-2</c:v>
                </c:pt>
                <c:pt idx="20">
                  <c:v>3.9665347947337698E-2</c:v>
                </c:pt>
                <c:pt idx="21">
                  <c:v>2.9208559815248412E-2</c:v>
                </c:pt>
                <c:pt idx="22">
                  <c:v>1.8953774607252814E-2</c:v>
                </c:pt>
                <c:pt idx="23">
                  <c:v>1.1060863974751423E-2</c:v>
                </c:pt>
                <c:pt idx="24">
                  <c:v>8.3328244067612592E-3</c:v>
                </c:pt>
                <c:pt idx="25">
                  <c:v>9.0309303845542387E-3</c:v>
                </c:pt>
                <c:pt idx="26">
                  <c:v>1.7586210126060653E-2</c:v>
                </c:pt>
                <c:pt idx="27">
                  <c:v>1.8972151244295528E-2</c:v>
                </c:pt>
                <c:pt idx="28">
                  <c:v>2.4627155764982506E-2</c:v>
                </c:pt>
                <c:pt idx="29">
                  <c:v>2.9406705896456289E-2</c:v>
                </c:pt>
                <c:pt idx="30">
                  <c:v>3.4776084194730154E-2</c:v>
                </c:pt>
                <c:pt idx="31">
                  <c:v>3.7972883823562863E-2</c:v>
                </c:pt>
                <c:pt idx="32">
                  <c:v>4.5132238012106182E-2</c:v>
                </c:pt>
                <c:pt idx="33">
                  <c:v>4.9230822897408169E-2</c:v>
                </c:pt>
                <c:pt idx="34">
                  <c:v>4.8760951543848706E-2</c:v>
                </c:pt>
                <c:pt idx="35">
                  <c:v>4.5990424094903101E-2</c:v>
                </c:pt>
                <c:pt idx="36">
                  <c:v>4.3764251885634098E-2</c:v>
                </c:pt>
                <c:pt idx="37">
                  <c:v>4.1027245219002473E-2</c:v>
                </c:pt>
                <c:pt idx="38">
                  <c:v>4.2843066539581136E-2</c:v>
                </c:pt>
                <c:pt idx="39">
                  <c:v>4.7672939085288267E-2</c:v>
                </c:pt>
                <c:pt idx="40">
                  <c:v>6.4915580762302028E-2</c:v>
                </c:pt>
                <c:pt idx="41">
                  <c:v>8.5111864349040611E-2</c:v>
                </c:pt>
                <c:pt idx="42">
                  <c:v>9.2314943399402438E-2</c:v>
                </c:pt>
                <c:pt idx="43">
                  <c:v>0.11049541993347475</c:v>
                </c:pt>
                <c:pt idx="44">
                  <c:v>0.40464985716880503</c:v>
                </c:pt>
                <c:pt idx="45">
                  <c:v>0.14792982252225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C$2:$C$47</c:f>
              <c:numCache>
                <c:formatCode>0.0%</c:formatCode>
                <c:ptCount val="46"/>
                <c:pt idx="0">
                  <c:v>0.20383060772036654</c:v>
                </c:pt>
                <c:pt idx="1">
                  <c:v>0.15124287184324486</c:v>
                </c:pt>
                <c:pt idx="2">
                  <c:v>0.14586140184623955</c:v>
                </c:pt>
                <c:pt idx="3">
                  <c:v>0.13094764415265758</c:v>
                </c:pt>
                <c:pt idx="4">
                  <c:v>0.12607997341603899</c:v>
                </c:pt>
                <c:pt idx="5">
                  <c:v>0.12898055397549241</c:v>
                </c:pt>
                <c:pt idx="6">
                  <c:v>0.13558275561043726</c:v>
                </c:pt>
                <c:pt idx="7">
                  <c:v>0.13955421257007491</c:v>
                </c:pt>
                <c:pt idx="8">
                  <c:v>0.11581632653061225</c:v>
                </c:pt>
                <c:pt idx="9">
                  <c:v>6.5013536940600886E-2</c:v>
                </c:pt>
                <c:pt idx="10">
                  <c:v>5.1076944359512266E-2</c:v>
                </c:pt>
                <c:pt idx="11">
                  <c:v>3.8216156901534702E-2</c:v>
                </c:pt>
                <c:pt idx="12">
                  <c:v>3.0650319829424306E-2</c:v>
                </c:pt>
                <c:pt idx="13">
                  <c:v>2.0957763035844939E-2</c:v>
                </c:pt>
                <c:pt idx="14">
                  <c:v>1.598930826907919E-2</c:v>
                </c:pt>
                <c:pt idx="15">
                  <c:v>1.2921795125758737E-2</c:v>
                </c:pt>
                <c:pt idx="16">
                  <c:v>1.04872263398342E-2</c:v>
                </c:pt>
                <c:pt idx="17">
                  <c:v>7.4948191777203556E-3</c:v>
                </c:pt>
                <c:pt idx="18">
                  <c:v>5.2690997096505798E-3</c:v>
                </c:pt>
                <c:pt idx="19">
                  <c:v>3.1222510717498798E-3</c:v>
                </c:pt>
                <c:pt idx="20">
                  <c:v>2.2639770269791185E-3</c:v>
                </c:pt>
                <c:pt idx="21">
                  <c:v>1.8119174117848776E-3</c:v>
                </c:pt>
                <c:pt idx="22">
                  <c:v>1.2673056633785383E-3</c:v>
                </c:pt>
                <c:pt idx="23">
                  <c:v>8.6963646588678707E-4</c:v>
                </c:pt>
                <c:pt idx="24">
                  <c:v>7.4047283256539591E-4</c:v>
                </c:pt>
                <c:pt idx="25">
                  <c:v>1.143781227492424E-3</c:v>
                </c:pt>
                <c:pt idx="26">
                  <c:v>2.5243043292376898E-3</c:v>
                </c:pt>
                <c:pt idx="27">
                  <c:v>2.216677848789231E-3</c:v>
                </c:pt>
                <c:pt idx="28">
                  <c:v>1.8562069428506964E-3</c:v>
                </c:pt>
                <c:pt idx="29">
                  <c:v>1.5625186211170419E-3</c:v>
                </c:pt>
                <c:pt idx="30">
                  <c:v>1.6343263186663023E-3</c:v>
                </c:pt>
                <c:pt idx="31">
                  <c:v>1.7219489931512475E-3</c:v>
                </c:pt>
                <c:pt idx="32">
                  <c:v>1.9290237952504466E-3</c:v>
                </c:pt>
                <c:pt idx="33">
                  <c:v>2.3273704436361574E-3</c:v>
                </c:pt>
                <c:pt idx="34">
                  <c:v>3.1233528498368877E-3</c:v>
                </c:pt>
                <c:pt idx="35">
                  <c:v>4.9449412586536476E-3</c:v>
                </c:pt>
                <c:pt idx="36">
                  <c:v>6.0463341380612582E-3</c:v>
                </c:pt>
                <c:pt idx="37">
                  <c:v>6.3420869070489718E-3</c:v>
                </c:pt>
                <c:pt idx="38">
                  <c:v>9.8275854529871927E-3</c:v>
                </c:pt>
                <c:pt idx="39">
                  <c:v>1.335286356419259E-2</c:v>
                </c:pt>
                <c:pt idx="40">
                  <c:v>1.9520880609515467E-2</c:v>
                </c:pt>
                <c:pt idx="41">
                  <c:v>3.6587956032603432E-2</c:v>
                </c:pt>
                <c:pt idx="42">
                  <c:v>4.8967606286304838E-2</c:v>
                </c:pt>
                <c:pt idx="43">
                  <c:v>8.8733601533458023E-2</c:v>
                </c:pt>
                <c:pt idx="44">
                  <c:v>0.10958425294358504</c:v>
                </c:pt>
                <c:pt idx="45">
                  <c:v>0.13715499210039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D$2:$D$47</c:f>
              <c:numCache>
                <c:formatCode>0.0%</c:formatCode>
                <c:ptCount val="46"/>
                <c:pt idx="0">
                  <c:v>6.2888281994283896E-2</c:v>
                </c:pt>
                <c:pt idx="1">
                  <c:v>6.4129305237496048E-2</c:v>
                </c:pt>
                <c:pt idx="2">
                  <c:v>6.8371791746904664E-2</c:v>
                </c:pt>
                <c:pt idx="3">
                  <c:v>6.4332837018621872E-2</c:v>
                </c:pt>
                <c:pt idx="4">
                  <c:v>6.1373632517658462E-2</c:v>
                </c:pt>
                <c:pt idx="5">
                  <c:v>5.4581165248025781E-2</c:v>
                </c:pt>
                <c:pt idx="6">
                  <c:v>5.8391836782161713E-2</c:v>
                </c:pt>
                <c:pt idx="7">
                  <c:v>6.5676362313978415E-2</c:v>
                </c:pt>
                <c:pt idx="8">
                  <c:v>6.4786407281609365E-2</c:v>
                </c:pt>
                <c:pt idx="9">
                  <c:v>6.6706471148282445E-2</c:v>
                </c:pt>
                <c:pt idx="10">
                  <c:v>7.3099290863917532E-2</c:v>
                </c:pt>
                <c:pt idx="11">
                  <c:v>7.5498554565808673E-2</c:v>
                </c:pt>
                <c:pt idx="12">
                  <c:v>7.0390653691178279E-2</c:v>
                </c:pt>
                <c:pt idx="13">
                  <c:v>8.1076502230597661E-2</c:v>
                </c:pt>
                <c:pt idx="14">
                  <c:v>9.0645902760655692E-2</c:v>
                </c:pt>
                <c:pt idx="15">
                  <c:v>9.2221719048102266E-2</c:v>
                </c:pt>
                <c:pt idx="16">
                  <c:v>6.9694748600796053E-2</c:v>
                </c:pt>
                <c:pt idx="17">
                  <c:v>4.9530392356169954E-2</c:v>
                </c:pt>
                <c:pt idx="18">
                  <c:v>4.1112470048167739E-2</c:v>
                </c:pt>
                <c:pt idx="19">
                  <c:v>3.6055606027539093E-2</c:v>
                </c:pt>
                <c:pt idx="20">
                  <c:v>3.141489552060759E-2</c:v>
                </c:pt>
                <c:pt idx="21">
                  <c:v>2.3885798611162114E-2</c:v>
                </c:pt>
                <c:pt idx="22">
                  <c:v>1.5403502673782666E-2</c:v>
                </c:pt>
                <c:pt idx="23">
                  <c:v>9.7169335959357596E-3</c:v>
                </c:pt>
                <c:pt idx="24">
                  <c:v>7.7068662825661022E-3</c:v>
                </c:pt>
                <c:pt idx="25">
                  <c:v>8.7743639303792011E-3</c:v>
                </c:pt>
                <c:pt idx="26">
                  <c:v>1.2407202619028043E-2</c:v>
                </c:pt>
                <c:pt idx="27">
                  <c:v>2.3378893884813186E-2</c:v>
                </c:pt>
                <c:pt idx="28">
                  <c:v>4.2076159564349735E-2</c:v>
                </c:pt>
                <c:pt idx="29">
                  <c:v>4.2618263732455378E-2</c:v>
                </c:pt>
                <c:pt idx="30">
                  <c:v>4.3305743173333432E-2</c:v>
                </c:pt>
                <c:pt idx="31">
                  <c:v>3.5691828298066018E-2</c:v>
                </c:pt>
                <c:pt idx="32">
                  <c:v>3.1057260114972538E-2</c:v>
                </c:pt>
                <c:pt idx="33">
                  <c:v>2.8494347519878557E-2</c:v>
                </c:pt>
                <c:pt idx="34">
                  <c:v>2.4630632269883723E-2</c:v>
                </c:pt>
                <c:pt idx="35">
                  <c:v>1.9954781460228933E-2</c:v>
                </c:pt>
                <c:pt idx="36">
                  <c:v>1.4879269519677944E-2</c:v>
                </c:pt>
                <c:pt idx="37">
                  <c:v>1.2461365680182484E-2</c:v>
                </c:pt>
                <c:pt idx="38">
                  <c:v>1.0940178320000707E-2</c:v>
                </c:pt>
                <c:pt idx="39">
                  <c:v>1.0219963646944673E-2</c:v>
                </c:pt>
                <c:pt idx="40">
                  <c:v>1.1529827699139957E-2</c:v>
                </c:pt>
                <c:pt idx="41">
                  <c:v>1.7536007395283458E-2</c:v>
                </c:pt>
                <c:pt idx="42">
                  <c:v>2.1321999384926842E-2</c:v>
                </c:pt>
                <c:pt idx="43">
                  <c:v>2.9330035722135751E-2</c:v>
                </c:pt>
                <c:pt idx="44">
                  <c:v>3.6014190201557127E-2</c:v>
                </c:pt>
                <c:pt idx="45">
                  <c:v>4.749328669303460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F$2:$F$47</c:f>
              <c:numCache>
                <c:formatCode>0.0%</c:formatCode>
                <c:ptCount val="46"/>
                <c:pt idx="0">
                  <c:v>0.12647832276808751</c:v>
                </c:pt>
                <c:pt idx="1">
                  <c:v>7.148260585615894E-2</c:v>
                </c:pt>
                <c:pt idx="2">
                  <c:v>5.6261795792822866E-2</c:v>
                </c:pt>
                <c:pt idx="3">
                  <c:v>4.7687094813789646E-2</c:v>
                </c:pt>
                <c:pt idx="4">
                  <c:v>4.9125589622641512E-2</c:v>
                </c:pt>
                <c:pt idx="5">
                  <c:v>4.612330447350424E-2</c:v>
                </c:pt>
                <c:pt idx="6">
                  <c:v>4.7498939354344523E-2</c:v>
                </c:pt>
                <c:pt idx="7">
                  <c:v>5.8579096486507859E-2</c:v>
                </c:pt>
                <c:pt idx="8">
                  <c:v>6.4527470657813404E-2</c:v>
                </c:pt>
                <c:pt idx="9">
                  <c:v>6.8412104756103931E-2</c:v>
                </c:pt>
                <c:pt idx="10">
                  <c:v>6.585776409321048E-2</c:v>
                </c:pt>
                <c:pt idx="11">
                  <c:v>6.558783866617629E-2</c:v>
                </c:pt>
                <c:pt idx="12">
                  <c:v>6.2389937106918238E-2</c:v>
                </c:pt>
                <c:pt idx="13">
                  <c:v>5.4309764327917003E-2</c:v>
                </c:pt>
                <c:pt idx="14">
                  <c:v>4.7954037550905139E-2</c:v>
                </c:pt>
                <c:pt idx="15">
                  <c:v>4.4925779186866528E-2</c:v>
                </c:pt>
                <c:pt idx="16">
                  <c:v>3.9191294890560127E-2</c:v>
                </c:pt>
                <c:pt idx="17">
                  <c:v>3.2141087822709941E-2</c:v>
                </c:pt>
                <c:pt idx="18">
                  <c:v>2.4569087023293086E-2</c:v>
                </c:pt>
                <c:pt idx="19">
                  <c:v>1.8369157498494701E-2</c:v>
                </c:pt>
                <c:pt idx="20">
                  <c:v>1.4674559468480317E-2</c:v>
                </c:pt>
                <c:pt idx="21">
                  <c:v>1.3092594038619289E-2</c:v>
                </c:pt>
                <c:pt idx="22">
                  <c:v>9.055216145910823E-3</c:v>
                </c:pt>
                <c:pt idx="23">
                  <c:v>5.6421917674600074E-3</c:v>
                </c:pt>
                <c:pt idx="24">
                  <c:v>4.3295915993096989E-3</c:v>
                </c:pt>
                <c:pt idx="25">
                  <c:v>4.6559486381619053E-3</c:v>
                </c:pt>
                <c:pt idx="26">
                  <c:v>7.5262606165629074E-3</c:v>
                </c:pt>
                <c:pt idx="27">
                  <c:v>1.4683204200410971E-2</c:v>
                </c:pt>
                <c:pt idx="28">
                  <c:v>2.1757298281339883E-2</c:v>
                </c:pt>
                <c:pt idx="29">
                  <c:v>2.5855641972462533E-2</c:v>
                </c:pt>
                <c:pt idx="30">
                  <c:v>2.9071436578743743E-2</c:v>
                </c:pt>
                <c:pt idx="31">
                  <c:v>3.0119413407821229E-2</c:v>
                </c:pt>
                <c:pt idx="32">
                  <c:v>3.2442008763581651E-2</c:v>
                </c:pt>
                <c:pt idx="33">
                  <c:v>2.8500677127937239E-2</c:v>
                </c:pt>
                <c:pt idx="34">
                  <c:v>2.1009817376809535E-2</c:v>
                </c:pt>
                <c:pt idx="35">
                  <c:v>1.7064038104634683E-2</c:v>
                </c:pt>
                <c:pt idx="36">
                  <c:v>1.4684331865188284E-2</c:v>
                </c:pt>
                <c:pt idx="37">
                  <c:v>1.1939169878920035E-2</c:v>
                </c:pt>
                <c:pt idx="38">
                  <c:v>1.0420979813846857E-2</c:v>
                </c:pt>
                <c:pt idx="39">
                  <c:v>9.3477166144096679E-3</c:v>
                </c:pt>
                <c:pt idx="40">
                  <c:v>7.4584800829332843E-3</c:v>
                </c:pt>
                <c:pt idx="41">
                  <c:v>7.6323387380818966E-3</c:v>
                </c:pt>
                <c:pt idx="42">
                  <c:v>1.0031631015817381E-2</c:v>
                </c:pt>
                <c:pt idx="43">
                  <c:v>1.2531234148082739E-2</c:v>
                </c:pt>
                <c:pt idx="44">
                  <c:v>1.538173671066055E-2</c:v>
                </c:pt>
                <c:pt idx="45">
                  <c:v>1.382670319241494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J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J$2:$J$47</c:f>
              <c:numCache>
                <c:formatCode>0.0%</c:formatCode>
                <c:ptCount val="46"/>
                <c:pt idx="0">
                  <c:v>0.1128292281429094</c:v>
                </c:pt>
                <c:pt idx="1">
                  <c:v>8.1488353659635027E-2</c:v>
                </c:pt>
                <c:pt idx="2">
                  <c:v>7.8289467006364258E-2</c:v>
                </c:pt>
                <c:pt idx="3">
                  <c:v>7.6042488396411603E-2</c:v>
                </c:pt>
                <c:pt idx="4">
                  <c:v>8.5644246974107552E-2</c:v>
                </c:pt>
                <c:pt idx="5">
                  <c:v>9.8985603543743084E-2</c:v>
                </c:pt>
                <c:pt idx="6">
                  <c:v>0.12751089037908436</c:v>
                </c:pt>
                <c:pt idx="7">
                  <c:v>0.1699868352418093</c:v>
                </c:pt>
                <c:pt idx="8">
                  <c:v>0.18455097168726572</c:v>
                </c:pt>
                <c:pt idx="9">
                  <c:v>0.24132456437960523</c:v>
                </c:pt>
                <c:pt idx="10">
                  <c:v>0.26763241500308216</c:v>
                </c:pt>
                <c:pt idx="11">
                  <c:v>0.24924785070763855</c:v>
                </c:pt>
                <c:pt idx="12">
                  <c:v>0.22757017633934823</c:v>
                </c:pt>
                <c:pt idx="13">
                  <c:v>0.18740771709965759</c:v>
                </c:pt>
                <c:pt idx="14">
                  <c:v>0.15275652516066979</c:v>
                </c:pt>
                <c:pt idx="15">
                  <c:v>0.1194147807060514</c:v>
                </c:pt>
                <c:pt idx="16">
                  <c:v>9.5968362741694471E-2</c:v>
                </c:pt>
                <c:pt idx="17">
                  <c:v>7.5881230972380143E-2</c:v>
                </c:pt>
                <c:pt idx="18">
                  <c:v>5.6216265251508142E-2</c:v>
                </c:pt>
                <c:pt idx="19">
                  <c:v>3.9730845372983443E-2</c:v>
                </c:pt>
                <c:pt idx="20">
                  <c:v>2.7109588532841931E-2</c:v>
                </c:pt>
                <c:pt idx="21">
                  <c:v>1.6855397856941033E-2</c:v>
                </c:pt>
                <c:pt idx="22">
                  <c:v>1.2866063738156762E-2</c:v>
                </c:pt>
                <c:pt idx="23">
                  <c:v>8.6900977450310463E-3</c:v>
                </c:pt>
                <c:pt idx="24">
                  <c:v>7.0968408722913148E-3</c:v>
                </c:pt>
                <c:pt idx="25">
                  <c:v>4.6165145315286956E-3</c:v>
                </c:pt>
                <c:pt idx="26">
                  <c:v>5.932112645893565E-3</c:v>
                </c:pt>
                <c:pt idx="27">
                  <c:v>7.0108074292987033E-3</c:v>
                </c:pt>
                <c:pt idx="28">
                  <c:v>8.5268660553603562E-3</c:v>
                </c:pt>
                <c:pt idx="29">
                  <c:v>8.2225220016701999E-3</c:v>
                </c:pt>
                <c:pt idx="30">
                  <c:v>7.7855040313979775E-3</c:v>
                </c:pt>
                <c:pt idx="31">
                  <c:v>9.8493626882966388E-3</c:v>
                </c:pt>
                <c:pt idx="32">
                  <c:v>1.1483342639121534E-2</c:v>
                </c:pt>
                <c:pt idx="33">
                  <c:v>1.714011189114634E-2</c:v>
                </c:pt>
                <c:pt idx="34">
                  <c:v>2.0650760445524961E-2</c:v>
                </c:pt>
                <c:pt idx="35">
                  <c:v>2.344409250449437E-2</c:v>
                </c:pt>
                <c:pt idx="36">
                  <c:v>2.7386688359093091E-2</c:v>
                </c:pt>
                <c:pt idx="37">
                  <c:v>3.28770989135036E-2</c:v>
                </c:pt>
                <c:pt idx="38">
                  <c:v>4.4005792797945746E-2</c:v>
                </c:pt>
                <c:pt idx="39">
                  <c:v>5.0057914636011974E-2</c:v>
                </c:pt>
                <c:pt idx="40">
                  <c:v>6.8871645587227151E-2</c:v>
                </c:pt>
                <c:pt idx="41">
                  <c:v>0.11984589665911424</c:v>
                </c:pt>
                <c:pt idx="42">
                  <c:v>0.16136845697309521</c:v>
                </c:pt>
                <c:pt idx="43">
                  <c:v>0.20132975089940344</c:v>
                </c:pt>
                <c:pt idx="44">
                  <c:v>0.22405975279264989</c:v>
                </c:pt>
                <c:pt idx="45">
                  <c:v>0.232161779025144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E$2:$E$47</c:f>
              <c:numCache>
                <c:formatCode>0.0%</c:formatCode>
                <c:ptCount val="46"/>
                <c:pt idx="0">
                  <c:v>0.11810817724469204</c:v>
                </c:pt>
                <c:pt idx="1">
                  <c:v>0.10010660478087918</c:v>
                </c:pt>
                <c:pt idx="2">
                  <c:v>8.5766236564932791E-2</c:v>
                </c:pt>
                <c:pt idx="3">
                  <c:v>6.7837583674660237E-2</c:v>
                </c:pt>
                <c:pt idx="4">
                  <c:v>5.8604683254365186E-2</c:v>
                </c:pt>
                <c:pt idx="5">
                  <c:v>4.7901097678488255E-2</c:v>
                </c:pt>
                <c:pt idx="6">
                  <c:v>4.7486881713802456E-2</c:v>
                </c:pt>
                <c:pt idx="7">
                  <c:v>4.8086786289104434E-2</c:v>
                </c:pt>
                <c:pt idx="8">
                  <c:v>5.0614340093820182E-2</c:v>
                </c:pt>
                <c:pt idx="9">
                  <c:v>5.5708761376508729E-2</c:v>
                </c:pt>
                <c:pt idx="10">
                  <c:v>6.7561887275471175E-2</c:v>
                </c:pt>
                <c:pt idx="11">
                  <c:v>8.1959170208251539E-2</c:v>
                </c:pt>
                <c:pt idx="12">
                  <c:v>9.3085113128790364E-2</c:v>
                </c:pt>
                <c:pt idx="13">
                  <c:v>0.1007251289458802</c:v>
                </c:pt>
                <c:pt idx="14">
                  <c:v>0.10788412308220389</c:v>
                </c:pt>
                <c:pt idx="15">
                  <c:v>0.10108843518412475</c:v>
                </c:pt>
                <c:pt idx="16">
                  <c:v>9.1383865544249362E-2</c:v>
                </c:pt>
                <c:pt idx="17">
                  <c:v>8.0154653086235525E-2</c:v>
                </c:pt>
                <c:pt idx="18">
                  <c:v>6.4162803930024964E-2</c:v>
                </c:pt>
                <c:pt idx="19">
                  <c:v>4.3154532798296619E-2</c:v>
                </c:pt>
                <c:pt idx="20">
                  <c:v>3.1402830049830743E-2</c:v>
                </c:pt>
                <c:pt idx="21">
                  <c:v>2.3391323237900417E-2</c:v>
                </c:pt>
                <c:pt idx="22">
                  <c:v>1.6795013449178626E-2</c:v>
                </c:pt>
                <c:pt idx="23">
                  <c:v>9.9449585478471984E-3</c:v>
                </c:pt>
                <c:pt idx="24">
                  <c:v>6.7419944938745405E-3</c:v>
                </c:pt>
                <c:pt idx="25">
                  <c:v>4.809914808373875E-3</c:v>
                </c:pt>
                <c:pt idx="26">
                  <c:v>9.0979623504430559E-3</c:v>
                </c:pt>
                <c:pt idx="27">
                  <c:v>1.4962897148592395E-2</c:v>
                </c:pt>
                <c:pt idx="28">
                  <c:v>2.1243661057101803E-2</c:v>
                </c:pt>
                <c:pt idx="29">
                  <c:v>2.6572081485430783E-2</c:v>
                </c:pt>
                <c:pt idx="30">
                  <c:v>3.460763154816298E-2</c:v>
                </c:pt>
                <c:pt idx="31">
                  <c:v>5.6448829822448532E-2</c:v>
                </c:pt>
                <c:pt idx="32">
                  <c:v>7.1822060883963826E-2</c:v>
                </c:pt>
                <c:pt idx="33">
                  <c:v>7.6986197707510251E-2</c:v>
                </c:pt>
                <c:pt idx="34">
                  <c:v>7.8876182086471749E-2</c:v>
                </c:pt>
                <c:pt idx="35">
                  <c:v>7.0877972495912364E-2</c:v>
                </c:pt>
                <c:pt idx="36">
                  <c:v>6.2552563254085425E-2</c:v>
                </c:pt>
                <c:pt idx="37">
                  <c:v>5.5717432501125284E-2</c:v>
                </c:pt>
                <c:pt idx="38">
                  <c:v>5.8565100573669308E-2</c:v>
                </c:pt>
                <c:pt idx="39">
                  <c:v>6.0493356652483753E-2</c:v>
                </c:pt>
                <c:pt idx="40">
                  <c:v>7.6039436403030805E-2</c:v>
                </c:pt>
                <c:pt idx="41">
                  <c:v>0.10742769183949578</c:v>
                </c:pt>
                <c:pt idx="42">
                  <c:v>0.1175727427738511</c:v>
                </c:pt>
                <c:pt idx="43">
                  <c:v>0.15014000535849062</c:v>
                </c:pt>
                <c:pt idx="44">
                  <c:v>0.16844571450623719</c:v>
                </c:pt>
                <c:pt idx="45">
                  <c:v>0.211260625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G$2:$G$47</c:f>
              <c:numCache>
                <c:formatCode>0.0%</c:formatCode>
                <c:ptCount val="46"/>
                <c:pt idx="0">
                  <c:v>0.12414341713069897</c:v>
                </c:pt>
                <c:pt idx="1">
                  <c:v>0.11437568290731388</c:v>
                </c:pt>
                <c:pt idx="2">
                  <c:v>0.11182343378307631</c:v>
                </c:pt>
                <c:pt idx="3">
                  <c:v>0.11076191221810888</c:v>
                </c:pt>
                <c:pt idx="4">
                  <c:v>0.10710758183870563</c:v>
                </c:pt>
                <c:pt idx="5">
                  <c:v>0.10156314043239838</c:v>
                </c:pt>
                <c:pt idx="6">
                  <c:v>8.9179827393882458E-2</c:v>
                </c:pt>
                <c:pt idx="7">
                  <c:v>8.5957444521479284E-2</c:v>
                </c:pt>
                <c:pt idx="8">
                  <c:v>7.1941768318601551E-2</c:v>
                </c:pt>
                <c:pt idx="9">
                  <c:v>7.0669671910575549E-2</c:v>
                </c:pt>
                <c:pt idx="10">
                  <c:v>7.3583489245770475E-2</c:v>
                </c:pt>
                <c:pt idx="11">
                  <c:v>7.8180083270180126E-2</c:v>
                </c:pt>
                <c:pt idx="12">
                  <c:v>8.5479614906234749E-2</c:v>
                </c:pt>
                <c:pt idx="13">
                  <c:v>8.9983315114205167E-2</c:v>
                </c:pt>
                <c:pt idx="14">
                  <c:v>8.9949577898847957E-2</c:v>
                </c:pt>
                <c:pt idx="15">
                  <c:v>9.4593078877049444E-2</c:v>
                </c:pt>
                <c:pt idx="16">
                  <c:v>9.7686326688905839E-2</c:v>
                </c:pt>
                <c:pt idx="17">
                  <c:v>0.1262152272393742</c:v>
                </c:pt>
                <c:pt idx="18">
                  <c:v>0.11591817897514217</c:v>
                </c:pt>
                <c:pt idx="19">
                  <c:v>8.0886610113346677E-2</c:v>
                </c:pt>
                <c:pt idx="20">
                  <c:v>7.4100439391654713E-2</c:v>
                </c:pt>
                <c:pt idx="21">
                  <c:v>5.5121085435775839E-2</c:v>
                </c:pt>
                <c:pt idx="22">
                  <c:v>3.7197504885014276E-2</c:v>
                </c:pt>
                <c:pt idx="23">
                  <c:v>2.8432807502574944E-2</c:v>
                </c:pt>
                <c:pt idx="24">
                  <c:v>1.2352194440086152E-2</c:v>
                </c:pt>
                <c:pt idx="25">
                  <c:v>1.0636312403480909E-2</c:v>
                </c:pt>
                <c:pt idx="26">
                  <c:v>6.0364160573914839E-2</c:v>
                </c:pt>
                <c:pt idx="27">
                  <c:v>9.4410712386061718E-2</c:v>
                </c:pt>
                <c:pt idx="28">
                  <c:v>4.8721701235239251E-2</c:v>
                </c:pt>
                <c:pt idx="29">
                  <c:v>3.3204757225260444E-2</c:v>
                </c:pt>
                <c:pt idx="30">
                  <c:v>2.8893011274618172E-2</c:v>
                </c:pt>
                <c:pt idx="31">
                  <c:v>3.0900848032954769E-2</c:v>
                </c:pt>
                <c:pt idx="32">
                  <c:v>3.5907046635863325E-2</c:v>
                </c:pt>
                <c:pt idx="33">
                  <c:v>4.3689415546865049E-2</c:v>
                </c:pt>
                <c:pt idx="34">
                  <c:v>4.593461250312162E-2</c:v>
                </c:pt>
                <c:pt idx="35">
                  <c:v>4.4342580655429814E-2</c:v>
                </c:pt>
                <c:pt idx="36">
                  <c:v>3.7977391765922991E-2</c:v>
                </c:pt>
                <c:pt idx="37">
                  <c:v>2.3980622220019576E-2</c:v>
                </c:pt>
                <c:pt idx="38">
                  <c:v>1.9971624824817898E-2</c:v>
                </c:pt>
                <c:pt idx="39">
                  <c:v>3.1659095146050219E-2</c:v>
                </c:pt>
                <c:pt idx="40">
                  <c:v>3.2872487102871106E-2</c:v>
                </c:pt>
                <c:pt idx="41">
                  <c:v>4.2251676350631068E-2</c:v>
                </c:pt>
                <c:pt idx="42">
                  <c:v>5.8297982654600303E-2</c:v>
                </c:pt>
                <c:pt idx="43">
                  <c:v>6.7970785014700164E-2</c:v>
                </c:pt>
                <c:pt idx="44">
                  <c:v>7.175286455293596E-2</c:v>
                </c:pt>
                <c:pt idx="45">
                  <c:v>0.106463182973408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I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I$2:$I$47</c:f>
              <c:numCache>
                <c:formatCode>0.0%</c:formatCode>
                <c:ptCount val="46"/>
                <c:pt idx="0">
                  <c:v>0.20041622316240157</c:v>
                </c:pt>
                <c:pt idx="1">
                  <c:v>0.11393738111488728</c:v>
                </c:pt>
                <c:pt idx="2">
                  <c:v>0.13696192649742767</c:v>
                </c:pt>
                <c:pt idx="3">
                  <c:v>0.16094565106208872</c:v>
                </c:pt>
                <c:pt idx="4">
                  <c:v>0.13552716878830739</c:v>
                </c:pt>
                <c:pt idx="5">
                  <c:v>0.12811000283852739</c:v>
                </c:pt>
                <c:pt idx="6">
                  <c:v>0.16118654268509794</c:v>
                </c:pt>
                <c:pt idx="7">
                  <c:v>0.20194515697399251</c:v>
                </c:pt>
                <c:pt idx="8">
                  <c:v>0.23569771732827244</c:v>
                </c:pt>
                <c:pt idx="9">
                  <c:v>0.26006889918995696</c:v>
                </c:pt>
                <c:pt idx="10">
                  <c:v>0.29862218971432081</c:v>
                </c:pt>
                <c:pt idx="11">
                  <c:v>0.31237430945675926</c:v>
                </c:pt>
                <c:pt idx="12">
                  <c:v>0.30083059468179424</c:v>
                </c:pt>
                <c:pt idx="13">
                  <c:v>0.22638466908547436</c:v>
                </c:pt>
                <c:pt idx="14">
                  <c:v>0.19627826865650083</c:v>
                </c:pt>
                <c:pt idx="15">
                  <c:v>0.15186949781045722</c:v>
                </c:pt>
                <c:pt idx="16">
                  <c:v>0.10816847956012431</c:v>
                </c:pt>
                <c:pt idx="17">
                  <c:v>7.8741721676523255E-2</c:v>
                </c:pt>
                <c:pt idx="18">
                  <c:v>5.3207363387199558E-2</c:v>
                </c:pt>
                <c:pt idx="19">
                  <c:v>3.0152159013022619E-2</c:v>
                </c:pt>
                <c:pt idx="20">
                  <c:v>1.6180870521318998E-2</c:v>
                </c:pt>
                <c:pt idx="21">
                  <c:v>9.1995544718384056E-3</c:v>
                </c:pt>
                <c:pt idx="22">
                  <c:v>5.8087141569764288E-3</c:v>
                </c:pt>
                <c:pt idx="23">
                  <c:v>3.7043650373311623E-3</c:v>
                </c:pt>
                <c:pt idx="24">
                  <c:v>2.7204321821338992E-3</c:v>
                </c:pt>
                <c:pt idx="25">
                  <c:v>2.1344901189314447E-3</c:v>
                </c:pt>
                <c:pt idx="26">
                  <c:v>2.0111258354252631E-3</c:v>
                </c:pt>
                <c:pt idx="27">
                  <c:v>2.3433512530782099E-3</c:v>
                </c:pt>
                <c:pt idx="28">
                  <c:v>2.8143125717401832E-3</c:v>
                </c:pt>
                <c:pt idx="29">
                  <c:v>3.483765110247946E-3</c:v>
                </c:pt>
                <c:pt idx="30">
                  <c:v>3.8001043022869918E-3</c:v>
                </c:pt>
                <c:pt idx="31">
                  <c:v>4.7280722475605544E-3</c:v>
                </c:pt>
                <c:pt idx="32">
                  <c:v>5.0274835768869819E-3</c:v>
                </c:pt>
                <c:pt idx="33">
                  <c:v>6.2417235210754972E-3</c:v>
                </c:pt>
                <c:pt idx="34">
                  <c:v>8.9875520632396125E-3</c:v>
                </c:pt>
                <c:pt idx="35">
                  <c:v>1.2670956577321677E-2</c:v>
                </c:pt>
                <c:pt idx="36">
                  <c:v>1.6751379694115217E-2</c:v>
                </c:pt>
                <c:pt idx="37">
                  <c:v>2.0444139194139194E-2</c:v>
                </c:pt>
                <c:pt idx="38">
                  <c:v>2.9341924839187968E-2</c:v>
                </c:pt>
                <c:pt idx="39">
                  <c:v>4.6197617026627683E-2</c:v>
                </c:pt>
                <c:pt idx="40">
                  <c:v>6.6678390888034927E-2</c:v>
                </c:pt>
                <c:pt idx="41">
                  <c:v>0.11175634569997235</c:v>
                </c:pt>
                <c:pt idx="42">
                  <c:v>0.15054810327419588</c:v>
                </c:pt>
                <c:pt idx="43">
                  <c:v>0.19202110339815676</c:v>
                </c:pt>
                <c:pt idx="44">
                  <c:v>0.2228222939699312</c:v>
                </c:pt>
                <c:pt idx="45">
                  <c:v>0.245834060298791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B$2:$B$47</c:f>
              <c:numCache>
                <c:formatCode>0.0%</c:formatCode>
                <c:ptCount val="46"/>
                <c:pt idx="0">
                  <c:v>0.10679753347684898</c:v>
                </c:pt>
                <c:pt idx="1">
                  <c:v>1.2007875095285362E-2</c:v>
                </c:pt>
                <c:pt idx="2">
                  <c:v>8.8792686859189181E-3</c:v>
                </c:pt>
                <c:pt idx="3">
                  <c:v>1.4503296411692311E-2</c:v>
                </c:pt>
                <c:pt idx="4">
                  <c:v>9.4930249801100514E-3</c:v>
                </c:pt>
                <c:pt idx="5">
                  <c:v>6.4037155624362269E-3</c:v>
                </c:pt>
                <c:pt idx="6">
                  <c:v>7.7532963335576414E-3</c:v>
                </c:pt>
                <c:pt idx="7">
                  <c:v>8.975691756430957E-3</c:v>
                </c:pt>
                <c:pt idx="8">
                  <c:v>9.8912321633642421E-3</c:v>
                </c:pt>
                <c:pt idx="9">
                  <c:v>9.9626543908140942E-3</c:v>
                </c:pt>
                <c:pt idx="10">
                  <c:v>1.0592370259408368E-2</c:v>
                </c:pt>
                <c:pt idx="11">
                  <c:v>1.0723457412946081E-2</c:v>
                </c:pt>
                <c:pt idx="12">
                  <c:v>9.580810722985696E-3</c:v>
                </c:pt>
                <c:pt idx="13">
                  <c:v>8.5160716185759475E-3</c:v>
                </c:pt>
                <c:pt idx="14">
                  <c:v>7.7651229220020435E-3</c:v>
                </c:pt>
                <c:pt idx="15">
                  <c:v>7.2916792862906055E-3</c:v>
                </c:pt>
                <c:pt idx="16">
                  <c:v>6.4211271632174391E-3</c:v>
                </c:pt>
                <c:pt idx="17">
                  <c:v>1.8444063846157937E-3</c:v>
                </c:pt>
                <c:pt idx="18">
                  <c:v>1.4115118493612489E-3</c:v>
                </c:pt>
                <c:pt idx="19">
                  <c:v>7.4098169106467026E-4</c:v>
                </c:pt>
                <c:pt idx="20">
                  <c:v>8.6120809584681781E-4</c:v>
                </c:pt>
                <c:pt idx="21">
                  <c:v>4.9861148123416118E-4</c:v>
                </c:pt>
                <c:pt idx="22">
                  <c:v>2.9807641588952625E-4</c:v>
                </c:pt>
                <c:pt idx="23">
                  <c:v>1.7685809996859976E-4</c:v>
                </c:pt>
                <c:pt idx="24">
                  <c:v>1.245386887048178E-4</c:v>
                </c:pt>
                <c:pt idx="25">
                  <c:v>1.3145565295707621E-4</c:v>
                </c:pt>
                <c:pt idx="26">
                  <c:v>2.6767640427584815E-4</c:v>
                </c:pt>
                <c:pt idx="27">
                  <c:v>6.4409399305953466E-4</c:v>
                </c:pt>
                <c:pt idx="28">
                  <c:v>9.0123818727872015E-4</c:v>
                </c:pt>
                <c:pt idx="29">
                  <c:v>1.0093815667241268E-3</c:v>
                </c:pt>
                <c:pt idx="30">
                  <c:v>1.3506209872354159E-3</c:v>
                </c:pt>
                <c:pt idx="31">
                  <c:v>2.2807756726547185E-3</c:v>
                </c:pt>
                <c:pt idx="32">
                  <c:v>2.9086338296266472E-3</c:v>
                </c:pt>
                <c:pt idx="33">
                  <c:v>3.4916371627395923E-3</c:v>
                </c:pt>
                <c:pt idx="34">
                  <c:v>3.9800459146713636E-3</c:v>
                </c:pt>
                <c:pt idx="35">
                  <c:v>4.2476839469279774E-3</c:v>
                </c:pt>
                <c:pt idx="36">
                  <c:v>4.6179805116449476E-3</c:v>
                </c:pt>
                <c:pt idx="37">
                  <c:v>3.7140641610985208E-3</c:v>
                </c:pt>
                <c:pt idx="38">
                  <c:v>4.1770803485200632E-3</c:v>
                </c:pt>
                <c:pt idx="39">
                  <c:v>3.4901397612417807E-3</c:v>
                </c:pt>
                <c:pt idx="40">
                  <c:v>4.2731511735725628E-3</c:v>
                </c:pt>
                <c:pt idx="41">
                  <c:v>6.4675650434489994E-3</c:v>
                </c:pt>
                <c:pt idx="42">
                  <c:v>1.126158288002597E-2</c:v>
                </c:pt>
                <c:pt idx="43">
                  <c:v>1.189553412016843E-2</c:v>
                </c:pt>
                <c:pt idx="44">
                  <c:v>1.8360904816776134E-2</c:v>
                </c:pt>
                <c:pt idx="45">
                  <c:v>1.662043533651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K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K$2:$K$47</c:f>
              <c:numCache>
                <c:formatCode>0.0%</c:formatCode>
                <c:ptCount val="46"/>
                <c:pt idx="0">
                  <c:v>0.52608257560122851</c:v>
                </c:pt>
                <c:pt idx="1">
                  <c:v>0.41250189987978941</c:v>
                </c:pt>
                <c:pt idx="2">
                  <c:v>0.50369860657147769</c:v>
                </c:pt>
                <c:pt idx="3">
                  <c:v>0.46675018422991893</c:v>
                </c:pt>
                <c:pt idx="4">
                  <c:v>0.51831930375231849</c:v>
                </c:pt>
                <c:pt idx="5">
                  <c:v>0.49291899562686436</c:v>
                </c:pt>
                <c:pt idx="6">
                  <c:v>0.53619298995827003</c:v>
                </c:pt>
                <c:pt idx="7">
                  <c:v>0.48659883034801082</c:v>
                </c:pt>
                <c:pt idx="8">
                  <c:v>0.42785176829502775</c:v>
                </c:pt>
                <c:pt idx="9">
                  <c:v>0.39096586063657118</c:v>
                </c:pt>
                <c:pt idx="10">
                  <c:v>0.3484147462704274</c:v>
                </c:pt>
                <c:pt idx="11">
                  <c:v>0.30373660664533281</c:v>
                </c:pt>
                <c:pt idx="12">
                  <c:v>0.2705167727695591</c:v>
                </c:pt>
                <c:pt idx="13">
                  <c:v>0.21305568130375735</c:v>
                </c:pt>
                <c:pt idx="14">
                  <c:v>0.15371063642369523</c:v>
                </c:pt>
                <c:pt idx="15">
                  <c:v>9.8519132804170129E-2</c:v>
                </c:pt>
                <c:pt idx="16">
                  <c:v>7.8997096372770428E-2</c:v>
                </c:pt>
                <c:pt idx="17">
                  <c:v>0.10015339899886969</c:v>
                </c:pt>
                <c:pt idx="18">
                  <c:v>4.4307930041108372E-3</c:v>
                </c:pt>
                <c:pt idx="19">
                  <c:v>3.8954919272416988E-3</c:v>
                </c:pt>
                <c:pt idx="20">
                  <c:v>3.4675485096742386E-3</c:v>
                </c:pt>
                <c:pt idx="21">
                  <c:v>3.1446127126560793E-3</c:v>
                </c:pt>
                <c:pt idx="22">
                  <c:v>2.4742329137179176E-3</c:v>
                </c:pt>
                <c:pt idx="23">
                  <c:v>1.4659615015956426E-3</c:v>
                </c:pt>
                <c:pt idx="24">
                  <c:v>1.3093587171650533E-3</c:v>
                </c:pt>
                <c:pt idx="25">
                  <c:v>1.0630708760543284E-3</c:v>
                </c:pt>
                <c:pt idx="26">
                  <c:v>2.4285447412665793E-3</c:v>
                </c:pt>
                <c:pt idx="27">
                  <c:v>2.2151018431707894E-3</c:v>
                </c:pt>
                <c:pt idx="28">
                  <c:v>3.1765375740442918E-3</c:v>
                </c:pt>
                <c:pt idx="29">
                  <c:v>4.1363613873633166E-3</c:v>
                </c:pt>
                <c:pt idx="30">
                  <c:v>4.4324937503938825E-3</c:v>
                </c:pt>
                <c:pt idx="31">
                  <c:v>5.7273653111229875E-3</c:v>
                </c:pt>
                <c:pt idx="32">
                  <c:v>5.9536372590403824E-3</c:v>
                </c:pt>
                <c:pt idx="33">
                  <c:v>7.3170949083357839E-3</c:v>
                </c:pt>
                <c:pt idx="34">
                  <c:v>1.1216018018961814E-2</c:v>
                </c:pt>
                <c:pt idx="35">
                  <c:v>1.7050535120214604E-2</c:v>
                </c:pt>
                <c:pt idx="36">
                  <c:v>2.8315500796283626E-2</c:v>
                </c:pt>
                <c:pt idx="37">
                  <c:v>2.9616787662079678E-2</c:v>
                </c:pt>
                <c:pt idx="38">
                  <c:v>3.8342644972590503E-2</c:v>
                </c:pt>
                <c:pt idx="39">
                  <c:v>4.5634176233711014E-2</c:v>
                </c:pt>
                <c:pt idx="40">
                  <c:v>5.5014645481173602E-2</c:v>
                </c:pt>
                <c:pt idx="41">
                  <c:v>8.3182198402534629E-2</c:v>
                </c:pt>
                <c:pt idx="42">
                  <c:v>0.11238522694618153</c:v>
                </c:pt>
                <c:pt idx="43">
                  <c:v>0.13803827215398448</c:v>
                </c:pt>
                <c:pt idx="44">
                  <c:v>0.13411173931673059</c:v>
                </c:pt>
                <c:pt idx="45">
                  <c:v>0.144289774095660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L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L$2:$L$47</c:f>
              <c:numCache>
                <c:formatCode>0.0%</c:formatCode>
                <c:ptCount val="46"/>
                <c:pt idx="0">
                  <c:v>0.18039078149554519</c:v>
                </c:pt>
                <c:pt idx="1">
                  <c:v>0.16725368732182228</c:v>
                </c:pt>
                <c:pt idx="2">
                  <c:v>0.13811273201546537</c:v>
                </c:pt>
                <c:pt idx="3">
                  <c:v>9.9804957796614135E-2</c:v>
                </c:pt>
                <c:pt idx="4">
                  <c:v>7.0249322752494986E-2</c:v>
                </c:pt>
                <c:pt idx="5">
                  <c:v>5.3150856772529377E-2</c:v>
                </c:pt>
                <c:pt idx="6">
                  <c:v>4.9517147555208002E-2</c:v>
                </c:pt>
                <c:pt idx="7">
                  <c:v>4.5352588040535623E-2</c:v>
                </c:pt>
                <c:pt idx="8">
                  <c:v>4.1994595092202484E-2</c:v>
                </c:pt>
                <c:pt idx="9">
                  <c:v>4.3956959426412333E-2</c:v>
                </c:pt>
                <c:pt idx="10">
                  <c:v>4.9960593400615164E-2</c:v>
                </c:pt>
                <c:pt idx="11">
                  <c:v>5.4767633357514132E-2</c:v>
                </c:pt>
                <c:pt idx="12">
                  <c:v>7.6023968826742852E-2</c:v>
                </c:pt>
                <c:pt idx="13">
                  <c:v>7.0914159460481838E-2</c:v>
                </c:pt>
                <c:pt idx="14">
                  <c:v>6.7218989864624115E-2</c:v>
                </c:pt>
                <c:pt idx="15">
                  <c:v>6.4303048023636941E-2</c:v>
                </c:pt>
                <c:pt idx="16">
                  <c:v>5.6661151366463172E-2</c:v>
                </c:pt>
                <c:pt idx="17">
                  <c:v>4.8954729575431781E-2</c:v>
                </c:pt>
                <c:pt idx="18">
                  <c:v>4.3530029450882302E-2</c:v>
                </c:pt>
                <c:pt idx="19">
                  <c:v>4.3872952921467402E-2</c:v>
                </c:pt>
                <c:pt idx="20">
                  <c:v>4.2980081084843615E-2</c:v>
                </c:pt>
                <c:pt idx="21">
                  <c:v>4.0302223175953222E-2</c:v>
                </c:pt>
                <c:pt idx="22">
                  <c:v>3.6167126025049727E-2</c:v>
                </c:pt>
                <c:pt idx="23">
                  <c:v>3.9268118786499932E-2</c:v>
                </c:pt>
                <c:pt idx="24">
                  <c:v>5.7899760796848526E-2</c:v>
                </c:pt>
                <c:pt idx="25">
                  <c:v>0.10694176510277585</c:v>
                </c:pt>
                <c:pt idx="26">
                  <c:v>0.13777962887239559</c:v>
                </c:pt>
                <c:pt idx="27">
                  <c:v>0.15121972777813697</c:v>
                </c:pt>
                <c:pt idx="28">
                  <c:v>0.1451109383316051</c:v>
                </c:pt>
                <c:pt idx="29">
                  <c:v>0.12967549096271511</c:v>
                </c:pt>
                <c:pt idx="30">
                  <c:v>0.11493249241193777</c:v>
                </c:pt>
                <c:pt idx="31">
                  <c:v>0.1010372272488942</c:v>
                </c:pt>
                <c:pt idx="32">
                  <c:v>8.7596005700268181E-2</c:v>
                </c:pt>
                <c:pt idx="33">
                  <c:v>7.0570521063448619E-2</c:v>
                </c:pt>
                <c:pt idx="34">
                  <c:v>4.9210887664470827E-2</c:v>
                </c:pt>
                <c:pt idx="35">
                  <c:v>3.7506949921772975E-2</c:v>
                </c:pt>
                <c:pt idx="36">
                  <c:v>2.82842776239937E-2</c:v>
                </c:pt>
                <c:pt idx="37">
                  <c:v>2.263922404777588E-2</c:v>
                </c:pt>
                <c:pt idx="38">
                  <c:v>1.848832037950825E-2</c:v>
                </c:pt>
                <c:pt idx="39">
                  <c:v>1.8320816767290041E-2</c:v>
                </c:pt>
                <c:pt idx="40">
                  <c:v>1.9948931333953934E-2</c:v>
                </c:pt>
                <c:pt idx="41">
                  <c:v>2.1507485585781239E-2</c:v>
                </c:pt>
                <c:pt idx="42">
                  <c:v>2.3668628500089176E-2</c:v>
                </c:pt>
                <c:pt idx="43">
                  <c:v>2.9715885412286654E-2</c:v>
                </c:pt>
                <c:pt idx="44">
                  <c:v>3.9403822341183975E-2</c:v>
                </c:pt>
                <c:pt idx="45" formatCode="General">
                  <c:v>5.212970882968587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1"/>
        <c:noMultiLvlLbl val="1"/>
      </c:catAx>
      <c:valAx>
        <c:axId val="359798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I$2:$I$47</c:f>
              <c:numCache>
                <c:formatCode>General</c:formatCode>
                <c:ptCount val="46"/>
                <c:pt idx="0">
                  <c:v>7.2901225782039223</c:v>
                </c:pt>
                <c:pt idx="1">
                  <c:v>6.3181062344433991</c:v>
                </c:pt>
                <c:pt idx="2">
                  <c:v>6.2052829088283383</c:v>
                </c:pt>
                <c:pt idx="3">
                  <c:v>5.7800257584331094</c:v>
                </c:pt>
                <c:pt idx="4">
                  <c:v>5.094407087387741</c:v>
                </c:pt>
                <c:pt idx="5">
                  <c:v>4.9729050444176757</c:v>
                </c:pt>
                <c:pt idx="6">
                  <c:v>4.2438927865972831</c:v>
                </c:pt>
                <c:pt idx="7">
                  <c:v>3.2979125949017747</c:v>
                </c:pt>
                <c:pt idx="8">
                  <c:v>2.9594426180565918</c:v>
                </c:pt>
                <c:pt idx="9">
                  <c:v>2.9681213354115967</c:v>
                </c:pt>
                <c:pt idx="10">
                  <c:v>3.0288723568966294</c:v>
                </c:pt>
                <c:pt idx="11">
                  <c:v>3.176410551931709</c:v>
                </c:pt>
                <c:pt idx="12">
                  <c:v>3.8533505056220734</c:v>
                </c:pt>
                <c:pt idx="13">
                  <c:v>4.7038648064125308</c:v>
                </c:pt>
                <c:pt idx="14">
                  <c:v>4.7559371105425585</c:v>
                </c:pt>
                <c:pt idx="15">
                  <c:v>4.6431137849274977</c:v>
                </c:pt>
                <c:pt idx="16">
                  <c:v>4.5736840460874602</c:v>
                </c:pt>
                <c:pt idx="17">
                  <c:v>4.4174671336973761</c:v>
                </c:pt>
                <c:pt idx="18">
                  <c:v>3.4280933552268444</c:v>
                </c:pt>
                <c:pt idx="19">
                  <c:v>2.334574968496256</c:v>
                </c:pt>
                <c:pt idx="20">
                  <c:v>1.9700688395860599</c:v>
                </c:pt>
                <c:pt idx="21">
                  <c:v>1.5795265586108498</c:v>
                </c:pt>
                <c:pt idx="22">
                  <c:v>1.1629481255706258</c:v>
                </c:pt>
                <c:pt idx="23">
                  <c:v>0.78976327930542489</c:v>
                </c:pt>
                <c:pt idx="24">
                  <c:v>0.5554379107202988</c:v>
                </c:pt>
                <c:pt idx="25">
                  <c:v>0.37318484626520076</c:v>
                </c:pt>
                <c:pt idx="26">
                  <c:v>0.26036152065014007</c:v>
                </c:pt>
                <c:pt idx="27">
                  <c:v>0.14753819503507937</c:v>
                </c:pt>
                <c:pt idx="28">
                  <c:v>0.15621691239008403</c:v>
                </c:pt>
                <c:pt idx="29">
                  <c:v>0.2777189553601494</c:v>
                </c:pt>
                <c:pt idx="30">
                  <c:v>0.3818635636202054</c:v>
                </c:pt>
                <c:pt idx="31">
                  <c:v>0.3905422809752101</c:v>
                </c:pt>
                <c:pt idx="32">
                  <c:v>0.5467591933652941</c:v>
                </c:pt>
                <c:pt idx="33">
                  <c:v>0.63354636691534083</c:v>
                </c:pt>
                <c:pt idx="34">
                  <c:v>0.62486764956033614</c:v>
                </c:pt>
                <c:pt idx="35">
                  <c:v>0.76372712724041081</c:v>
                </c:pt>
                <c:pt idx="36">
                  <c:v>0.75504840988540622</c:v>
                </c:pt>
                <c:pt idx="37">
                  <c:v>0.80712071401543428</c:v>
                </c:pt>
                <c:pt idx="38">
                  <c:v>0.95465890905051365</c:v>
                </c:pt>
                <c:pt idx="39">
                  <c:v>1.0240886478905511</c:v>
                </c:pt>
                <c:pt idx="40">
                  <c:v>1.3278437553157143</c:v>
                </c:pt>
                <c:pt idx="41">
                  <c:v>1.7270647536459289</c:v>
                </c:pt>
                <c:pt idx="42">
                  <c:v>2.2391090775912046</c:v>
                </c:pt>
                <c:pt idx="43">
                  <c:v>2.6383300759214192</c:v>
                </c:pt>
                <c:pt idx="44">
                  <c:v>3.0115149221866204</c:v>
                </c:pt>
                <c:pt idx="45">
                  <c:v>3.90542280975210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C$2:$C$47</c:f>
              <c:numCache>
                <c:formatCode>General</c:formatCode>
                <c:ptCount val="46"/>
                <c:pt idx="0">
                  <c:v>20.665911784235913</c:v>
                </c:pt>
                <c:pt idx="1">
                  <c:v>22.367810401761222</c:v>
                </c:pt>
                <c:pt idx="2">
                  <c:v>20.619156327710492</c:v>
                </c:pt>
                <c:pt idx="3">
                  <c:v>18.861151162354677</c:v>
                </c:pt>
                <c:pt idx="4">
                  <c:v>17.729669114439496</c:v>
                </c:pt>
                <c:pt idx="5">
                  <c:v>17.449136375286972</c:v>
                </c:pt>
                <c:pt idx="6">
                  <c:v>19.048172988456358</c:v>
                </c:pt>
                <c:pt idx="7">
                  <c:v>21.479456727778231</c:v>
                </c:pt>
                <c:pt idx="8">
                  <c:v>24.509210310625484</c:v>
                </c:pt>
                <c:pt idx="9">
                  <c:v>27.679230263049003</c:v>
                </c:pt>
                <c:pt idx="10">
                  <c:v>27.735336810879506</c:v>
                </c:pt>
                <c:pt idx="11">
                  <c:v>24.527912493235654</c:v>
                </c:pt>
                <c:pt idx="12">
                  <c:v>20.899689066863015</c:v>
                </c:pt>
                <c:pt idx="13">
                  <c:v>17.056390540473441</c:v>
                </c:pt>
                <c:pt idx="14">
                  <c:v>12.717484174914407</c:v>
                </c:pt>
                <c:pt idx="15">
                  <c:v>9.2482293007281964</c:v>
                </c:pt>
                <c:pt idx="16">
                  <c:v>7.0507228440334284</c:v>
                </c:pt>
                <c:pt idx="17">
                  <c:v>5.5171438699996322</c:v>
                </c:pt>
                <c:pt idx="18">
                  <c:v>3.9555116220505839</c:v>
                </c:pt>
                <c:pt idx="19">
                  <c:v>2.5528479262879653</c:v>
                </c:pt>
                <c:pt idx="20">
                  <c:v>1.5242278827287119</c:v>
                </c:pt>
                <c:pt idx="21">
                  <c:v>0.87900258267790754</c:v>
                </c:pt>
                <c:pt idx="22">
                  <c:v>0.5984698435253839</c:v>
                </c:pt>
                <c:pt idx="23">
                  <c:v>0.37404365220336494</c:v>
                </c:pt>
                <c:pt idx="24">
                  <c:v>0.22442619132201896</c:v>
                </c:pt>
                <c:pt idx="25">
                  <c:v>0.16831964349151421</c:v>
                </c:pt>
                <c:pt idx="26">
                  <c:v>9.3510913050841235E-2</c:v>
                </c:pt>
                <c:pt idx="27">
                  <c:v>5.6106547830504741E-2</c:v>
                </c:pt>
                <c:pt idx="28">
                  <c:v>5.6106547830504741E-2</c:v>
                </c:pt>
                <c:pt idx="29">
                  <c:v>6.5457639135588858E-2</c:v>
                </c:pt>
                <c:pt idx="30">
                  <c:v>7.4808730440672988E-2</c:v>
                </c:pt>
                <c:pt idx="31">
                  <c:v>8.4159821745757105E-2</c:v>
                </c:pt>
                <c:pt idx="32">
                  <c:v>0.13091527827117772</c:v>
                </c:pt>
                <c:pt idx="33">
                  <c:v>0.15896855218643008</c:v>
                </c:pt>
                <c:pt idx="34">
                  <c:v>9.3510913050841235E-2</c:v>
                </c:pt>
                <c:pt idx="35">
                  <c:v>7.4808730440672988E-2</c:v>
                </c:pt>
                <c:pt idx="36">
                  <c:v>0.19637291740676657</c:v>
                </c:pt>
                <c:pt idx="37">
                  <c:v>0.26183055654235543</c:v>
                </c:pt>
                <c:pt idx="38">
                  <c:v>0.26183055654235543</c:v>
                </c:pt>
                <c:pt idx="39">
                  <c:v>0.3833947435084491</c:v>
                </c:pt>
                <c:pt idx="40">
                  <c:v>0.73873621310164572</c:v>
                </c:pt>
                <c:pt idx="41">
                  <c:v>1.299801691406693</c:v>
                </c:pt>
                <c:pt idx="42">
                  <c:v>2.3377728262710304</c:v>
                </c:pt>
                <c:pt idx="43">
                  <c:v>4.3576085481692015</c:v>
                </c:pt>
                <c:pt idx="44">
                  <c:v>7.0133184788130922</c:v>
                </c:pt>
                <c:pt idx="45">
                  <c:v>10.1739873399315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D$2:$D$47</c:f>
              <c:numCache>
                <c:formatCode>General</c:formatCode>
                <c:ptCount val="46"/>
                <c:pt idx="0">
                  <c:v>9.4429287036155678</c:v>
                </c:pt>
                <c:pt idx="1">
                  <c:v>10.246550605244641</c:v>
                </c:pt>
                <c:pt idx="2">
                  <c:v>10.21387097153699</c:v>
                </c:pt>
                <c:pt idx="3">
                  <c:v>9.7830939817543072</c:v>
                </c:pt>
                <c:pt idx="4">
                  <c:v>9.2706179077024942</c:v>
                </c:pt>
                <c:pt idx="5">
                  <c:v>8.900743871647709</c:v>
                </c:pt>
                <c:pt idx="6">
                  <c:v>8.0941510942270298</c:v>
                </c:pt>
                <c:pt idx="7">
                  <c:v>7.0008688029164974</c:v>
                </c:pt>
                <c:pt idx="8">
                  <c:v>6.3160819329516107</c:v>
                </c:pt>
                <c:pt idx="9">
                  <c:v>5.8867903810647313</c:v>
                </c:pt>
                <c:pt idx="10">
                  <c:v>5.5273144102805611</c:v>
                </c:pt>
                <c:pt idx="11">
                  <c:v>5.4990910902603165</c:v>
                </c:pt>
                <c:pt idx="12">
                  <c:v>5.7397320293802983</c:v>
                </c:pt>
                <c:pt idx="13">
                  <c:v>6.1497128886217478</c:v>
                </c:pt>
                <c:pt idx="14">
                  <c:v>6.1408002612469339</c:v>
                </c:pt>
                <c:pt idx="15">
                  <c:v>6.0635574906652119</c:v>
                </c:pt>
                <c:pt idx="16">
                  <c:v>6.0680138043526179</c:v>
                </c:pt>
                <c:pt idx="17">
                  <c:v>5.2643919027235437</c:v>
                </c:pt>
                <c:pt idx="18">
                  <c:v>4.1220901608515339</c:v>
                </c:pt>
                <c:pt idx="19">
                  <c:v>3.2501381160155516</c:v>
                </c:pt>
                <c:pt idx="20">
                  <c:v>2.6128852587163416</c:v>
                </c:pt>
                <c:pt idx="21">
                  <c:v>2.0662441130610754</c:v>
                </c:pt>
                <c:pt idx="22">
                  <c:v>1.4572145757821098</c:v>
                </c:pt>
                <c:pt idx="23">
                  <c:v>1.0561463439154741</c:v>
                </c:pt>
                <c:pt idx="24">
                  <c:v>0.84669960060734206</c:v>
                </c:pt>
                <c:pt idx="25">
                  <c:v>0.66101986363204779</c:v>
                </c:pt>
                <c:pt idx="26">
                  <c:v>0.54367026986366174</c:v>
                </c:pt>
                <c:pt idx="27">
                  <c:v>0.42334980030367103</c:v>
                </c:pt>
                <c:pt idx="28">
                  <c:v>0.39364104238762399</c:v>
                </c:pt>
                <c:pt idx="29">
                  <c:v>0.64170917098661717</c:v>
                </c:pt>
                <c:pt idx="30">
                  <c:v>0.95068025331350692</c:v>
                </c:pt>
                <c:pt idx="31">
                  <c:v>1.2121173229747213</c:v>
                </c:pt>
                <c:pt idx="32">
                  <c:v>1.8998750687312114</c:v>
                </c:pt>
                <c:pt idx="33">
                  <c:v>2.3024287384936493</c:v>
                </c:pt>
                <c:pt idx="34">
                  <c:v>2.1137781257267507</c:v>
                </c:pt>
                <c:pt idx="35">
                  <c:v>1.926612950855654</c:v>
                </c:pt>
                <c:pt idx="36">
                  <c:v>1.6310108095909852</c:v>
                </c:pt>
                <c:pt idx="37">
                  <c:v>1.3294669167431072</c:v>
                </c:pt>
                <c:pt idx="38">
                  <c:v>1.0903114155189282</c:v>
                </c:pt>
                <c:pt idx="39">
                  <c:v>0.85264135219055137</c:v>
                </c:pt>
                <c:pt idx="40">
                  <c:v>0.67587424259007134</c:v>
                </c:pt>
                <c:pt idx="41">
                  <c:v>0.60902953727896536</c:v>
                </c:pt>
                <c:pt idx="42">
                  <c:v>0.60605866148736065</c:v>
                </c:pt>
                <c:pt idx="43">
                  <c:v>0.65210723625723366</c:v>
                </c:pt>
                <c:pt idx="44">
                  <c:v>0.70409756261031609</c:v>
                </c:pt>
                <c:pt idx="45">
                  <c:v>0.839272411128330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F$2:$F$47</c:f>
              <c:numCache>
                <c:formatCode>General</c:formatCode>
                <c:ptCount val="46"/>
                <c:pt idx="0">
                  <c:v>10.98899477491239</c:v>
                </c:pt>
                <c:pt idx="1">
                  <c:v>11.027558534421543</c:v>
                </c:pt>
                <c:pt idx="2">
                  <c:v>10.735815310308825</c:v>
                </c:pt>
                <c:pt idx="3">
                  <c:v>10.004780564830979</c:v>
                </c:pt>
                <c:pt idx="4">
                  <c:v>9.0507466882784673</c:v>
                </c:pt>
                <c:pt idx="5">
                  <c:v>7.8636535694749936</c:v>
                </c:pt>
                <c:pt idx="6">
                  <c:v>7.0437545086064928</c:v>
                </c:pt>
                <c:pt idx="7">
                  <c:v>6.8978828965501338</c:v>
                </c:pt>
                <c:pt idx="8">
                  <c:v>7.187949435466801</c:v>
                </c:pt>
                <c:pt idx="9">
                  <c:v>7.915630810552547</c:v>
                </c:pt>
                <c:pt idx="10">
                  <c:v>8.8948149650458088</c:v>
                </c:pt>
                <c:pt idx="11">
                  <c:v>9.7499244150313622</c:v>
                </c:pt>
                <c:pt idx="12">
                  <c:v>10.154005547279437</c:v>
                </c:pt>
                <c:pt idx="13">
                  <c:v>10.070171287476931</c:v>
                </c:pt>
                <c:pt idx="14">
                  <c:v>9.0021228175930155</c:v>
                </c:pt>
                <c:pt idx="15">
                  <c:v>7.741255550163336</c:v>
                </c:pt>
                <c:pt idx="16">
                  <c:v>6.6161997836137152</c:v>
                </c:pt>
                <c:pt idx="17">
                  <c:v>5.3754527385366373</c:v>
                </c:pt>
                <c:pt idx="18">
                  <c:v>4.3090809538487704</c:v>
                </c:pt>
                <c:pt idx="19">
                  <c:v>3.2527692803372039</c:v>
                </c:pt>
                <c:pt idx="20">
                  <c:v>2.3087955149609951</c:v>
                </c:pt>
                <c:pt idx="21">
                  <c:v>1.6381214365409529</c:v>
                </c:pt>
                <c:pt idx="22">
                  <c:v>1.1652962112548231</c:v>
                </c:pt>
                <c:pt idx="23">
                  <c:v>0.83163585724085221</c:v>
                </c:pt>
                <c:pt idx="24">
                  <c:v>0.5834864482254366</c:v>
                </c:pt>
                <c:pt idx="25">
                  <c:v>0.41078787303227576</c:v>
                </c:pt>
                <c:pt idx="26">
                  <c:v>0.31018676126926947</c:v>
                </c:pt>
                <c:pt idx="27">
                  <c:v>0.24311935342726523</c:v>
                </c:pt>
                <c:pt idx="28">
                  <c:v>0.23138255705491453</c:v>
                </c:pt>
                <c:pt idx="29">
                  <c:v>0.27497637215221726</c:v>
                </c:pt>
                <c:pt idx="30">
                  <c:v>0.39569770626782486</c:v>
                </c:pt>
                <c:pt idx="31">
                  <c:v>0.63378700410693978</c:v>
                </c:pt>
                <c:pt idx="32">
                  <c:v>0.91379343184730744</c:v>
                </c:pt>
                <c:pt idx="33">
                  <c:v>1.1384692481180214</c:v>
                </c:pt>
                <c:pt idx="34">
                  <c:v>1.2860175453704308</c:v>
                </c:pt>
                <c:pt idx="35">
                  <c:v>1.3329647308598336</c:v>
                </c:pt>
                <c:pt idx="36">
                  <c:v>1.2876942305664809</c:v>
                </c:pt>
                <c:pt idx="37">
                  <c:v>1.1971532299797751</c:v>
                </c:pt>
                <c:pt idx="38">
                  <c:v>1.0479282475313156</c:v>
                </c:pt>
                <c:pt idx="39">
                  <c:v>0.86516956116185428</c:v>
                </c:pt>
                <c:pt idx="40">
                  <c:v>0.75283165302649724</c:v>
                </c:pt>
                <c:pt idx="41">
                  <c:v>0.75115496783044722</c:v>
                </c:pt>
                <c:pt idx="42">
                  <c:v>0.83498922763295247</c:v>
                </c:pt>
                <c:pt idx="43">
                  <c:v>0.93894370978805897</c:v>
                </c:pt>
                <c:pt idx="44">
                  <c:v>1.0781085810602178</c:v>
                </c:pt>
                <c:pt idx="45">
                  <c:v>1.09319874782466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K$2:$K$47</c:f>
              <c:numCache>
                <c:formatCode>General</c:formatCode>
                <c:ptCount val="46"/>
                <c:pt idx="0">
                  <c:v>17.421520757506556</c:v>
                </c:pt>
                <c:pt idx="1">
                  <c:v>15.190092129341792</c:v>
                </c:pt>
                <c:pt idx="2">
                  <c:v>13.296448568743253</c:v>
                </c:pt>
                <c:pt idx="3">
                  <c:v>11.556343675220271</c:v>
                </c:pt>
                <c:pt idx="4">
                  <c:v>10.635111672766929</c:v>
                </c:pt>
                <c:pt idx="5">
                  <c:v>10.287090694062332</c:v>
                </c:pt>
                <c:pt idx="6">
                  <c:v>10.67605531732041</c:v>
                </c:pt>
                <c:pt idx="7">
                  <c:v>13.398807680126959</c:v>
                </c:pt>
                <c:pt idx="8">
                  <c:v>17.534115780028632</c:v>
                </c:pt>
                <c:pt idx="9">
                  <c:v>22.498532682138315</c:v>
                </c:pt>
                <c:pt idx="10">
                  <c:v>28.619607542883863</c:v>
                </c:pt>
                <c:pt idx="11">
                  <c:v>34.904456981843332</c:v>
                </c:pt>
                <c:pt idx="12">
                  <c:v>38.272071746367224</c:v>
                </c:pt>
                <c:pt idx="13">
                  <c:v>35.15011884916423</c:v>
                </c:pt>
                <c:pt idx="14">
                  <c:v>28.650315276298972</c:v>
                </c:pt>
                <c:pt idx="15">
                  <c:v>22.273342637094164</c:v>
                </c:pt>
                <c:pt idx="16">
                  <c:v>16.623119688713658</c:v>
                </c:pt>
                <c:pt idx="17">
                  <c:v>12.283093366044577</c:v>
                </c:pt>
                <c:pt idx="18">
                  <c:v>8.6902885564765366</c:v>
                </c:pt>
                <c:pt idx="19">
                  <c:v>5.7525820597642099</c:v>
                </c:pt>
                <c:pt idx="20">
                  <c:v>3.5006816093227044</c:v>
                </c:pt>
                <c:pt idx="21">
                  <c:v>2.1393054279194303</c:v>
                </c:pt>
                <c:pt idx="22">
                  <c:v>1.4330275593718671</c:v>
                </c:pt>
                <c:pt idx="23">
                  <c:v>0.79840106879289741</c:v>
                </c:pt>
                <c:pt idx="24">
                  <c:v>0.53226737919526501</c:v>
                </c:pt>
                <c:pt idx="25">
                  <c:v>0.32754915642785537</c:v>
                </c:pt>
                <c:pt idx="26">
                  <c:v>0.18424640049066862</c:v>
                </c:pt>
                <c:pt idx="27">
                  <c:v>0.18424640049066862</c:v>
                </c:pt>
                <c:pt idx="28">
                  <c:v>9.2123200245334311E-2</c:v>
                </c:pt>
                <c:pt idx="29">
                  <c:v>7.1651377968593361E-2</c:v>
                </c:pt>
                <c:pt idx="30">
                  <c:v>0.12283093366044574</c:v>
                </c:pt>
                <c:pt idx="31">
                  <c:v>0.11259502252207527</c:v>
                </c:pt>
                <c:pt idx="32">
                  <c:v>0.17401048935229815</c:v>
                </c:pt>
                <c:pt idx="33">
                  <c:v>0.20471822276740961</c:v>
                </c:pt>
                <c:pt idx="34">
                  <c:v>0.21495413390578008</c:v>
                </c:pt>
                <c:pt idx="35">
                  <c:v>0.4503800900883011</c:v>
                </c:pt>
                <c:pt idx="36">
                  <c:v>0.69604195740919261</c:v>
                </c:pt>
                <c:pt idx="37">
                  <c:v>0.82910880220800887</c:v>
                </c:pt>
                <c:pt idx="38">
                  <c:v>1.1566579586358643</c:v>
                </c:pt>
                <c:pt idx="39">
                  <c:v>1.3511402702649034</c:v>
                </c:pt>
                <c:pt idx="40">
                  <c:v>1.8015203603532044</c:v>
                </c:pt>
                <c:pt idx="41">
                  <c:v>3.1219528972029962</c:v>
                </c:pt>
                <c:pt idx="42">
                  <c:v>5.5683356592735409</c:v>
                </c:pt>
                <c:pt idx="43">
                  <c:v>9.550105092099658</c:v>
                </c:pt>
                <c:pt idx="44">
                  <c:v>14.248388304611707</c:v>
                </c:pt>
                <c:pt idx="45">
                  <c:v>17.6569467136890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E$2:$E$47</c:f>
              <c:numCache>
                <c:formatCode>General</c:formatCode>
                <c:ptCount val="46"/>
                <c:pt idx="0">
                  <c:v>13.757908497788257</c:v>
                </c:pt>
                <c:pt idx="1">
                  <c:v>12.83566450042734</c:v>
                </c:pt>
                <c:pt idx="2">
                  <c:v>11.985564753185924</c:v>
                </c:pt>
                <c:pt idx="3">
                  <c:v>10.819232709587373</c:v>
                </c:pt>
                <c:pt idx="4">
                  <c:v>9.0565081983343081</c:v>
                </c:pt>
                <c:pt idx="5">
                  <c:v>7.3274510038036738</c:v>
                </c:pt>
                <c:pt idx="6">
                  <c:v>5.7414799053433772</c:v>
                </c:pt>
                <c:pt idx="7">
                  <c:v>4.5450877575283695</c:v>
                </c:pt>
                <c:pt idx="8">
                  <c:v>3.7118216686481684</c:v>
                </c:pt>
                <c:pt idx="9">
                  <c:v>3.1442869010414514</c:v>
                </c:pt>
                <c:pt idx="10">
                  <c:v>2.8424834547082183</c:v>
                </c:pt>
                <c:pt idx="11">
                  <c:v>2.8088161379857861</c:v>
                </c:pt>
                <c:pt idx="12">
                  <c:v>3.1178340093309687</c:v>
                </c:pt>
                <c:pt idx="13">
                  <c:v>3.5014009391329659</c:v>
                </c:pt>
                <c:pt idx="14">
                  <c:v>3.6709399269137863</c:v>
                </c:pt>
                <c:pt idx="15">
                  <c:v>3.7515010062138923</c:v>
                </c:pt>
                <c:pt idx="16">
                  <c:v>3.836871702188632</c:v>
                </c:pt>
                <c:pt idx="17">
                  <c:v>3.624046164336113</c:v>
                </c:pt>
                <c:pt idx="18">
                  <c:v>3.0901787134518277</c:v>
                </c:pt>
                <c:pt idx="19">
                  <c:v>2.4937862457973119</c:v>
                </c:pt>
                <c:pt idx="20">
                  <c:v>1.9442875407204694</c:v>
                </c:pt>
                <c:pt idx="21">
                  <c:v>1.3995984523182599</c:v>
                </c:pt>
                <c:pt idx="22">
                  <c:v>0.92104159319225687</c:v>
                </c:pt>
                <c:pt idx="23">
                  <c:v>0.63246459271426525</c:v>
                </c:pt>
                <c:pt idx="24">
                  <c:v>0.44729435074088714</c:v>
                </c:pt>
                <c:pt idx="25">
                  <c:v>0.27775536296006703</c:v>
                </c:pt>
                <c:pt idx="26">
                  <c:v>0.18517024197337803</c:v>
                </c:pt>
                <c:pt idx="27">
                  <c:v>0.14068128773302097</c:v>
                </c:pt>
                <c:pt idx="28">
                  <c:v>0.13947888356436267</c:v>
                </c:pt>
                <c:pt idx="29">
                  <c:v>0.12745484187777967</c:v>
                </c:pt>
                <c:pt idx="30">
                  <c:v>0.12505003354046307</c:v>
                </c:pt>
                <c:pt idx="31">
                  <c:v>0.15631254192557886</c:v>
                </c:pt>
                <c:pt idx="32">
                  <c:v>0.24048083373165979</c:v>
                </c:pt>
                <c:pt idx="33">
                  <c:v>0.34508999640493176</c:v>
                </c:pt>
                <c:pt idx="34">
                  <c:v>0.51342658001709363</c:v>
                </c:pt>
                <c:pt idx="35">
                  <c:v>0.70581124700242137</c:v>
                </c:pt>
                <c:pt idx="36">
                  <c:v>0.88857668063848283</c:v>
                </c:pt>
                <c:pt idx="37">
                  <c:v>0.98597141829980506</c:v>
                </c:pt>
                <c:pt idx="38">
                  <c:v>0.93426803904749822</c:v>
                </c:pt>
                <c:pt idx="39">
                  <c:v>0.91623197651762378</c:v>
                </c:pt>
                <c:pt idx="40">
                  <c:v>0.96192333492663917</c:v>
                </c:pt>
                <c:pt idx="41">
                  <c:v>1.1555104060806252</c:v>
                </c:pt>
                <c:pt idx="42">
                  <c:v>1.5498989734005473</c:v>
                </c:pt>
                <c:pt idx="43">
                  <c:v>2.060920745080324</c:v>
                </c:pt>
                <c:pt idx="44">
                  <c:v>2.5190367333391359</c:v>
                </c:pt>
                <c:pt idx="45">
                  <c:v>2.46613094991817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G$2:$G$47</c:f>
              <c:numCache>
                <c:formatCode>General</c:formatCode>
                <c:ptCount val="46"/>
                <c:pt idx="0">
                  <c:v>7.5082212725085071</c:v>
                </c:pt>
                <c:pt idx="1">
                  <c:v>6.9280144258953786</c:v>
                </c:pt>
                <c:pt idx="2">
                  <c:v>6.255893623383141</c:v>
                </c:pt>
                <c:pt idx="3">
                  <c:v>5.5435604651650419</c:v>
                </c:pt>
                <c:pt idx="4">
                  <c:v>4.8139934402158602</c:v>
                </c:pt>
                <c:pt idx="5">
                  <c:v>4.5956977949554751</c:v>
                </c:pt>
                <c:pt idx="6">
                  <c:v>4.6129316616865577</c:v>
                </c:pt>
                <c:pt idx="7">
                  <c:v>3.9005985034684594</c:v>
                </c:pt>
                <c:pt idx="8">
                  <c:v>2.9699696999899756</c:v>
                </c:pt>
                <c:pt idx="9">
                  <c:v>2.487421431519651</c:v>
                </c:pt>
                <c:pt idx="10">
                  <c:v>2.0738086299736578</c:v>
                </c:pt>
                <c:pt idx="11">
                  <c:v>1.8497683624695784</c:v>
                </c:pt>
                <c:pt idx="12">
                  <c:v>1.7348759175956918</c:v>
                </c:pt>
                <c:pt idx="13">
                  <c:v>1.6659404506713598</c:v>
                </c:pt>
                <c:pt idx="14">
                  <c:v>1.6487065839402768</c:v>
                </c:pt>
                <c:pt idx="15">
                  <c:v>1.6659404506713598</c:v>
                </c:pt>
                <c:pt idx="16">
                  <c:v>1.5970049837470275</c:v>
                </c:pt>
                <c:pt idx="17">
                  <c:v>1.5797711170159445</c:v>
                </c:pt>
                <c:pt idx="18">
                  <c:v>1.3097738715623102</c:v>
                </c:pt>
                <c:pt idx="19">
                  <c:v>1.0282873816212874</c:v>
                </c:pt>
                <c:pt idx="20">
                  <c:v>0.7870132473861251</c:v>
                </c:pt>
                <c:pt idx="21">
                  <c:v>0.6319084468063777</c:v>
                </c:pt>
                <c:pt idx="22">
                  <c:v>0.46531440173924177</c:v>
                </c:pt>
                <c:pt idx="23">
                  <c:v>0.1953171562856077</c:v>
                </c:pt>
                <c:pt idx="24">
                  <c:v>0.12063706711758121</c:v>
                </c:pt>
                <c:pt idx="25">
                  <c:v>9.1913955899109501E-2</c:v>
                </c:pt>
                <c:pt idx="26">
                  <c:v>0.1034032003864982</c:v>
                </c:pt>
                <c:pt idx="27">
                  <c:v>0.14936017833605295</c:v>
                </c:pt>
                <c:pt idx="28">
                  <c:v>0.24701875647885677</c:v>
                </c:pt>
                <c:pt idx="29">
                  <c:v>0.35042195686535493</c:v>
                </c:pt>
                <c:pt idx="30">
                  <c:v>0.47680364622663046</c:v>
                </c:pt>
                <c:pt idx="31">
                  <c:v>0.53424986866357393</c:v>
                </c:pt>
                <c:pt idx="32">
                  <c:v>0.45956977949554745</c:v>
                </c:pt>
                <c:pt idx="33">
                  <c:v>0.49403751295771353</c:v>
                </c:pt>
                <c:pt idx="34">
                  <c:v>0.51127137968879655</c:v>
                </c:pt>
                <c:pt idx="35">
                  <c:v>0.44808053500815886</c:v>
                </c:pt>
                <c:pt idx="36">
                  <c:v>0.46531440173924177</c:v>
                </c:pt>
                <c:pt idx="37">
                  <c:v>0.367655823596438</c:v>
                </c:pt>
                <c:pt idx="38">
                  <c:v>0.29297573442841152</c:v>
                </c:pt>
                <c:pt idx="39">
                  <c:v>0.29872035667210589</c:v>
                </c:pt>
                <c:pt idx="40">
                  <c:v>0.39637893481490971</c:v>
                </c:pt>
                <c:pt idx="41">
                  <c:v>0.72956702494918169</c:v>
                </c:pt>
                <c:pt idx="42">
                  <c:v>1.2293491601505897</c:v>
                </c:pt>
                <c:pt idx="43">
                  <c:v>1.6716850729150541</c:v>
                </c:pt>
                <c:pt idx="44">
                  <c:v>1.9646608073434655</c:v>
                </c:pt>
                <c:pt idx="45">
                  <c:v>2.2576365417718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J$2:$J$47</c:f>
              <c:numCache>
                <c:formatCode>General</c:formatCode>
                <c:ptCount val="46"/>
                <c:pt idx="0">
                  <c:v>10.780296968202181</c:v>
                </c:pt>
                <c:pt idx="1">
                  <c:v>11.23079324913145</c:v>
                </c:pt>
                <c:pt idx="2">
                  <c:v>11.064820935104878</c:v>
                </c:pt>
                <c:pt idx="3">
                  <c:v>10.148021486196187</c:v>
                </c:pt>
                <c:pt idx="4">
                  <c:v>9.8819388875186647</c:v>
                </c:pt>
                <c:pt idx="5">
                  <c:v>9.6079528453160687</c:v>
                </c:pt>
                <c:pt idx="6">
                  <c:v>8.1589881990523345</c:v>
                </c:pt>
                <c:pt idx="7">
                  <c:v>7.8533883827494391</c:v>
                </c:pt>
                <c:pt idx="8">
                  <c:v>8.2459260778281589</c:v>
                </c:pt>
                <c:pt idx="9">
                  <c:v>9.0072911374103768</c:v>
                </c:pt>
                <c:pt idx="10">
                  <c:v>10.651207390625958</c:v>
                </c:pt>
                <c:pt idx="11">
                  <c:v>12.474268363743237</c:v>
                </c:pt>
                <c:pt idx="12">
                  <c:v>14.932239300041536</c:v>
                </c:pt>
                <c:pt idx="13">
                  <c:v>17.324348206964206</c:v>
                </c:pt>
                <c:pt idx="14">
                  <c:v>18.762774928527843</c:v>
                </c:pt>
                <c:pt idx="15">
                  <c:v>18.472981999275095</c:v>
                </c:pt>
                <c:pt idx="16">
                  <c:v>15.949149033601175</c:v>
                </c:pt>
                <c:pt idx="17">
                  <c:v>12.181840953315465</c:v>
                </c:pt>
                <c:pt idx="18">
                  <c:v>9.5737045900407445</c:v>
                </c:pt>
                <c:pt idx="19">
                  <c:v>7.7559125792735149</c:v>
                </c:pt>
                <c:pt idx="20">
                  <c:v>5.4928932499270644</c:v>
                </c:pt>
                <c:pt idx="21">
                  <c:v>3.2509497699808141</c:v>
                </c:pt>
                <c:pt idx="22">
                  <c:v>2.2208676305460506</c:v>
                </c:pt>
                <c:pt idx="23">
                  <c:v>1.7967161613670302</c:v>
                </c:pt>
                <c:pt idx="24">
                  <c:v>1.0801372817602382</c:v>
                </c:pt>
                <c:pt idx="25">
                  <c:v>0.68233062433146752</c:v>
                </c:pt>
                <c:pt idx="26">
                  <c:v>0.48737901737961964</c:v>
                </c:pt>
                <c:pt idx="27">
                  <c:v>0.35302047745334614</c:v>
                </c:pt>
                <c:pt idx="28">
                  <c:v>0.21602745635204759</c:v>
                </c:pt>
                <c:pt idx="29">
                  <c:v>0.12908957757622355</c:v>
                </c:pt>
                <c:pt idx="30">
                  <c:v>0.12645509640119862</c:v>
                </c:pt>
                <c:pt idx="31">
                  <c:v>0.11328269052607376</c:v>
                </c:pt>
                <c:pt idx="32">
                  <c:v>8.9572359950849015E-2</c:v>
                </c:pt>
                <c:pt idx="33">
                  <c:v>0.1080137281760238</c:v>
                </c:pt>
                <c:pt idx="34">
                  <c:v>0.16070335167652322</c:v>
                </c:pt>
                <c:pt idx="35">
                  <c:v>0.21866193752707258</c:v>
                </c:pt>
                <c:pt idx="36">
                  <c:v>0.28452396690269688</c:v>
                </c:pt>
                <c:pt idx="37">
                  <c:v>0.38463425155364572</c:v>
                </c:pt>
                <c:pt idx="38">
                  <c:v>0.545337603230169</c:v>
                </c:pt>
                <c:pt idx="39">
                  <c:v>0.78244090898241636</c:v>
                </c:pt>
                <c:pt idx="40">
                  <c:v>1.1064820935104878</c:v>
                </c:pt>
                <c:pt idx="41">
                  <c:v>1.5227301191644331</c:v>
                </c:pt>
                <c:pt idx="42">
                  <c:v>2.3657640951724237</c:v>
                </c:pt>
                <c:pt idx="43">
                  <c:v>3.4643427451578366</c:v>
                </c:pt>
                <c:pt idx="44">
                  <c:v>4.9185763537716207</c:v>
                </c:pt>
                <c:pt idx="45">
                  <c:v>8.14318131200218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B$2:$B$47</c:f>
              <c:numCache>
                <c:formatCode>General</c:formatCode>
                <c:ptCount val="46"/>
                <c:pt idx="0">
                  <c:v>8.3360820683909242</c:v>
                </c:pt>
                <c:pt idx="1">
                  <c:v>7.8754629783585433</c:v>
                </c:pt>
                <c:pt idx="2">
                  <c:v>7.3474362166141036</c:v>
                </c:pt>
                <c:pt idx="3">
                  <c:v>6.5722479919254599</c:v>
                </c:pt>
                <c:pt idx="4">
                  <c:v>5.6734790357647134</c:v>
                </c:pt>
                <c:pt idx="5">
                  <c:v>4.505079392755742</c:v>
                </c:pt>
                <c:pt idx="6">
                  <c:v>3.7523603919711168</c:v>
                </c:pt>
                <c:pt idx="7">
                  <c:v>3.347914361698781</c:v>
                </c:pt>
                <c:pt idx="8">
                  <c:v>3.134456734610604</c:v>
                </c:pt>
                <c:pt idx="9">
                  <c:v>3.2692720780347155</c:v>
                </c:pt>
                <c:pt idx="10">
                  <c:v>3.8197680636831732</c:v>
                </c:pt>
                <c:pt idx="11">
                  <c:v>4.0332256907713511</c:v>
                </c:pt>
                <c:pt idx="12">
                  <c:v>4.392733273235649</c:v>
                </c:pt>
                <c:pt idx="13">
                  <c:v>4.7185370198439198</c:v>
                </c:pt>
                <c:pt idx="14">
                  <c:v>4.5500178405637799</c:v>
                </c:pt>
                <c:pt idx="15">
                  <c:v>3.9995218549153226</c:v>
                </c:pt>
                <c:pt idx="16">
                  <c:v>3.5389027648829394</c:v>
                </c:pt>
                <c:pt idx="17">
                  <c:v>3.0108760031385011</c:v>
                </c:pt>
                <c:pt idx="18">
                  <c:v>2.1682801067378015</c:v>
                </c:pt>
                <c:pt idx="19">
                  <c:v>1.5391418374252785</c:v>
                </c:pt>
                <c:pt idx="20">
                  <c:v>1.1234611952009332</c:v>
                </c:pt>
                <c:pt idx="21">
                  <c:v>0.84259589640069998</c:v>
                </c:pt>
                <c:pt idx="22">
                  <c:v>0.52802676174443863</c:v>
                </c:pt>
                <c:pt idx="23">
                  <c:v>0.30333452270425199</c:v>
                </c:pt>
                <c:pt idx="24">
                  <c:v>0.16851917928013999</c:v>
                </c:pt>
                <c:pt idx="25">
                  <c:v>8.9876895616074662E-2</c:v>
                </c:pt>
                <c:pt idx="26">
                  <c:v>4.4938447808037331E-2</c:v>
                </c:pt>
                <c:pt idx="27">
                  <c:v>4.4938447808037331E-2</c:v>
                </c:pt>
                <c:pt idx="28">
                  <c:v>7.8642283664065324E-2</c:v>
                </c:pt>
                <c:pt idx="29">
                  <c:v>8.9876895616074662E-2</c:v>
                </c:pt>
                <c:pt idx="30">
                  <c:v>0.11234611952009332</c:v>
                </c:pt>
                <c:pt idx="31">
                  <c:v>0.15728456732813065</c:v>
                </c:pt>
                <c:pt idx="32">
                  <c:v>0.16851917928013999</c:v>
                </c:pt>
                <c:pt idx="33">
                  <c:v>0.37074219441630801</c:v>
                </c:pt>
                <c:pt idx="34">
                  <c:v>0.70778055297658804</c:v>
                </c:pt>
                <c:pt idx="35">
                  <c:v>0.84259589640069998</c:v>
                </c:pt>
                <c:pt idx="36">
                  <c:v>1.1234611952009332</c:v>
                </c:pt>
                <c:pt idx="37">
                  <c:v>1.4492649418092038</c:v>
                </c:pt>
                <c:pt idx="38">
                  <c:v>1.3706226581451386</c:v>
                </c:pt>
                <c:pt idx="39">
                  <c:v>1.2695111505770544</c:v>
                </c:pt>
                <c:pt idx="40">
                  <c:v>1.5166726135212598</c:v>
                </c:pt>
                <c:pt idx="41">
                  <c:v>1.6627225688973812</c:v>
                </c:pt>
                <c:pt idx="42">
                  <c:v>1.718895628657428</c:v>
                </c:pt>
                <c:pt idx="43">
                  <c:v>2.3705031218739689</c:v>
                </c:pt>
                <c:pt idx="44">
                  <c:v>3.9433487951552761</c:v>
                </c:pt>
                <c:pt idx="45">
                  <c:v>4.69606779593990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L$2:$L$47</c:f>
              <c:numCache>
                <c:formatCode>General</c:formatCode>
                <c:ptCount val="46"/>
                <c:pt idx="0">
                  <c:v>21.730076899920537</c:v>
                </c:pt>
                <c:pt idx="1">
                  <c:v>22.298063732886419</c:v>
                </c:pt>
                <c:pt idx="2">
                  <c:v>22.572896071418299</c:v>
                </c:pt>
                <c:pt idx="3">
                  <c:v>23.012627813069304</c:v>
                </c:pt>
                <c:pt idx="4">
                  <c:v>23.562292490133061</c:v>
                </c:pt>
                <c:pt idx="5">
                  <c:v>24.405111661630823</c:v>
                </c:pt>
                <c:pt idx="6">
                  <c:v>24.8998098709882</c:v>
                </c:pt>
                <c:pt idx="7">
                  <c:v>24.551688908847822</c:v>
                </c:pt>
                <c:pt idx="8">
                  <c:v>24.166923634903196</c:v>
                </c:pt>
                <c:pt idx="9">
                  <c:v>23.653903269643685</c:v>
                </c:pt>
                <c:pt idx="10">
                  <c:v>20.978868507933402</c:v>
                </c:pt>
                <c:pt idx="11">
                  <c:v>18.083967875397615</c:v>
                </c:pt>
                <c:pt idx="12">
                  <c:v>16.105175037968085</c:v>
                </c:pt>
                <c:pt idx="13">
                  <c:v>12.862153443291918</c:v>
                </c:pt>
                <c:pt idx="14">
                  <c:v>10.55356179962414</c:v>
                </c:pt>
                <c:pt idx="15">
                  <c:v>9.1610779510626212</c:v>
                </c:pt>
                <c:pt idx="16">
                  <c:v>7.2738958931437203</c:v>
                </c:pt>
                <c:pt idx="17">
                  <c:v>4.9836264053780663</c:v>
                </c:pt>
                <c:pt idx="18">
                  <c:v>3.6094647127186725</c:v>
                </c:pt>
                <c:pt idx="19">
                  <c:v>2.784967697123037</c:v>
                </c:pt>
                <c:pt idx="20">
                  <c:v>1.8322155902125243</c:v>
                </c:pt>
                <c:pt idx="21">
                  <c:v>1.4840946280721448</c:v>
                </c:pt>
                <c:pt idx="22">
                  <c:v>0.9527521069105126</c:v>
                </c:pt>
                <c:pt idx="23">
                  <c:v>0.60463114477013291</c:v>
                </c:pt>
                <c:pt idx="24">
                  <c:v>0.56798683296588248</c:v>
                </c:pt>
                <c:pt idx="25">
                  <c:v>0.51302036525950678</c:v>
                </c:pt>
                <c:pt idx="26">
                  <c:v>0.25651018262975339</c:v>
                </c:pt>
                <c:pt idx="27">
                  <c:v>9.1610779510626211E-2</c:v>
                </c:pt>
                <c:pt idx="28">
                  <c:v>0.10993293541275144</c:v>
                </c:pt>
                <c:pt idx="29">
                  <c:v>0.25651018262975339</c:v>
                </c:pt>
                <c:pt idx="30">
                  <c:v>0.25651018262975339</c:v>
                </c:pt>
                <c:pt idx="31">
                  <c:v>0.10993293541275144</c:v>
                </c:pt>
                <c:pt idx="32">
                  <c:v>0.10993293541275144</c:v>
                </c:pt>
                <c:pt idx="33">
                  <c:v>0.14657724721700194</c:v>
                </c:pt>
                <c:pt idx="34">
                  <c:v>0.20154371492337766</c:v>
                </c:pt>
                <c:pt idx="35">
                  <c:v>0.62295330067225829</c:v>
                </c:pt>
                <c:pt idx="36">
                  <c:v>1.135973665931765</c:v>
                </c:pt>
                <c:pt idx="37">
                  <c:v>1.7222826547997727</c:v>
                </c:pt>
                <c:pt idx="38">
                  <c:v>2.5467796703954084</c:v>
                </c:pt>
                <c:pt idx="39">
                  <c:v>3.2979880623825437</c:v>
                </c:pt>
                <c:pt idx="40">
                  <c:v>4.0308742984675536</c:v>
                </c:pt>
                <c:pt idx="41">
                  <c:v>4.5255725078249345</c:v>
                </c:pt>
                <c:pt idx="42">
                  <c:v>5.8814120445822029</c:v>
                </c:pt>
                <c:pt idx="43">
                  <c:v>7.6220168552841008</c:v>
                </c:pt>
                <c:pt idx="44">
                  <c:v>9.0694671715519952</c:v>
                </c:pt>
                <c:pt idx="45">
                  <c:v>8.46483602678186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7</c:f>
              <c:numCache>
                <c:formatCode>General</c:formatCode>
                <c:ptCount val="46"/>
                <c:pt idx="0">
                  <c:v>6.0465707640824569</c:v>
                </c:pt>
                <c:pt idx="1">
                  <c:v>8.1846314255958905</c:v>
                </c:pt>
                <c:pt idx="2">
                  <c:v>12.036098407749041</c:v>
                </c:pt>
                <c:pt idx="3">
                  <c:v>15.154455657150057</c:v>
                </c:pt>
                <c:pt idx="4">
                  <c:v>14.848112973435187</c:v>
                </c:pt>
                <c:pt idx="5">
                  <c:v>11.995956952641576</c:v>
                </c:pt>
                <c:pt idx="6">
                  <c:v>8.6790051358667828</c:v>
                </c:pt>
                <c:pt idx="7">
                  <c:v>6.3022084518721062</c:v>
                </c:pt>
                <c:pt idx="8">
                  <c:v>4.7050010802276843</c:v>
                </c:pt>
                <c:pt idx="9">
                  <c:v>3.4310380576065374</c:v>
                </c:pt>
                <c:pt idx="10">
                  <c:v>2.7106045738357065</c:v>
                </c:pt>
                <c:pt idx="11">
                  <c:v>2.2922883574526436</c:v>
                </c:pt>
                <c:pt idx="12">
                  <c:v>2.1824275329480005</c:v>
                </c:pt>
                <c:pt idx="13">
                  <c:v>2.2796121084713388</c:v>
                </c:pt>
                <c:pt idx="14">
                  <c:v>2.3366552288872109</c:v>
                </c:pt>
                <c:pt idx="15">
                  <c:v>2.2605977349993811</c:v>
                </c:pt>
                <c:pt idx="16">
                  <c:v>1.9986219227190791</c:v>
                </c:pt>
                <c:pt idx="17">
                  <c:v>1.8359433941256658</c:v>
                </c:pt>
                <c:pt idx="18">
                  <c:v>1.6415742430789899</c:v>
                </c:pt>
                <c:pt idx="19">
                  <c:v>1.2633994818033925</c:v>
                </c:pt>
                <c:pt idx="20">
                  <c:v>0.93381700828946401</c:v>
                </c:pt>
                <c:pt idx="21">
                  <c:v>0.81973076745771967</c:v>
                </c:pt>
                <c:pt idx="22">
                  <c:v>0.72888431642503415</c:v>
                </c:pt>
                <c:pt idx="23">
                  <c:v>0.54296599803256163</c:v>
                </c:pt>
                <c:pt idx="24">
                  <c:v>0.48381016945313859</c:v>
                </c:pt>
                <c:pt idx="25">
                  <c:v>0.41620350821951224</c:v>
                </c:pt>
                <c:pt idx="26">
                  <c:v>0.36127309596719082</c:v>
                </c:pt>
                <c:pt idx="27">
                  <c:v>0.49648641843444352</c:v>
                </c:pt>
                <c:pt idx="28">
                  <c:v>1.0352270001399035</c:v>
                </c:pt>
                <c:pt idx="29">
                  <c:v>1.7767875655462428</c:v>
                </c:pt>
                <c:pt idx="30">
                  <c:v>2.3598950186862702</c:v>
                </c:pt>
                <c:pt idx="31">
                  <c:v>2.8542687289571624</c:v>
                </c:pt>
                <c:pt idx="32">
                  <c:v>2.9641295534618055</c:v>
                </c:pt>
                <c:pt idx="33">
                  <c:v>2.6345470799478772</c:v>
                </c:pt>
                <c:pt idx="34">
                  <c:v>2.2796121084713388</c:v>
                </c:pt>
                <c:pt idx="35">
                  <c:v>1.8739721410695804</c:v>
                </c:pt>
                <c:pt idx="36">
                  <c:v>1.5063609206117372</c:v>
                </c:pt>
                <c:pt idx="37">
                  <c:v>1.1662149062800546</c:v>
                </c:pt>
                <c:pt idx="38">
                  <c:v>0.84508326542032941</c:v>
                </c:pt>
                <c:pt idx="39">
                  <c:v>0.65282682253720448</c:v>
                </c:pt>
                <c:pt idx="40">
                  <c:v>0.52395162456060429</c:v>
                </c:pt>
                <c:pt idx="41">
                  <c:v>0.48592287761668945</c:v>
                </c:pt>
                <c:pt idx="42">
                  <c:v>0.45845767149052868</c:v>
                </c:pt>
                <c:pt idx="43">
                  <c:v>0.39085101025690233</c:v>
                </c:pt>
                <c:pt idx="44">
                  <c:v>0.45634496332697783</c:v>
                </c:pt>
                <c:pt idx="45">
                  <c:v>0.426767049037266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7</c:f>
              <c:strCache>
                <c:ptCount val="46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</c:strCache>
            </c:strRef>
          </c:cat>
          <c:val>
            <c:numRef>
              <c:f>List1!$H$2:$H$47</c:f>
              <c:numCache>
                <c:formatCode>General</c:formatCode>
                <c:ptCount val="46"/>
                <c:pt idx="0">
                  <c:v>15.166060501767392</c:v>
                </c:pt>
                <c:pt idx="1">
                  <c:v>20.918349483013209</c:v>
                </c:pt>
                <c:pt idx="2">
                  <c:v>24.255117880563468</c:v>
                </c:pt>
                <c:pt idx="3">
                  <c:v>24.826673541790704</c:v>
                </c:pt>
                <c:pt idx="4">
                  <c:v>21.832250823073213</c:v>
                </c:pt>
                <c:pt idx="5">
                  <c:v>16.173996706399482</c:v>
                </c:pt>
                <c:pt idx="6">
                  <c:v>11.43405181406257</c:v>
                </c:pt>
                <c:pt idx="7">
                  <c:v>8.3500021150498061</c:v>
                </c:pt>
                <c:pt idx="8">
                  <c:v>5.7611047497994523</c:v>
                </c:pt>
                <c:pt idx="9">
                  <c:v>3.9186091220900638</c:v>
                </c:pt>
                <c:pt idx="10">
                  <c:v>2.4302135312849513</c:v>
                </c:pt>
                <c:pt idx="11">
                  <c:v>1.5809611606182634</c:v>
                </c:pt>
                <c:pt idx="12">
                  <c:v>1.0005897308373952</c:v>
                </c:pt>
                <c:pt idx="13">
                  <c:v>0.7464017375409645</c:v>
                </c:pt>
                <c:pt idx="14">
                  <c:v>0.63767392537948542</c:v>
                </c:pt>
                <c:pt idx="15">
                  <c:v>0.48192868093196134</c:v>
                </c:pt>
                <c:pt idx="16">
                  <c:v>0.39377099539562693</c:v>
                </c:pt>
                <c:pt idx="17">
                  <c:v>0.26006517233218646</c:v>
                </c:pt>
                <c:pt idx="18">
                  <c:v>0.20717056101038583</c:v>
                </c:pt>
                <c:pt idx="19">
                  <c:v>0.17043819203691316</c:v>
                </c:pt>
                <c:pt idx="20">
                  <c:v>0.14986806541176848</c:v>
                </c:pt>
                <c:pt idx="21">
                  <c:v>0.17484607631372986</c:v>
                </c:pt>
                <c:pt idx="22">
                  <c:v>0.1807232553494855</c:v>
                </c:pt>
                <c:pt idx="23">
                  <c:v>0.19982408721569125</c:v>
                </c:pt>
                <c:pt idx="24">
                  <c:v>0.28798177275202563</c:v>
                </c:pt>
                <c:pt idx="25">
                  <c:v>0.37467016352942117</c:v>
                </c:pt>
                <c:pt idx="26">
                  <c:v>0.47752079665514463</c:v>
                </c:pt>
                <c:pt idx="27">
                  <c:v>0.70085360001385844</c:v>
                </c:pt>
                <c:pt idx="28">
                  <c:v>1.0769930583022185</c:v>
                </c:pt>
                <c:pt idx="29">
                  <c:v>1.4854570012872343</c:v>
                </c:pt>
                <c:pt idx="30">
                  <c:v>1.76021512120881</c:v>
                </c:pt>
                <c:pt idx="31">
                  <c:v>1.8131097325306105</c:v>
                </c:pt>
                <c:pt idx="32">
                  <c:v>1.8865744704775558</c:v>
                </c:pt>
                <c:pt idx="33">
                  <c:v>2.1804334222653372</c:v>
                </c:pt>
                <c:pt idx="34">
                  <c:v>2.3347093719539225</c:v>
                </c:pt>
                <c:pt idx="35">
                  <c:v>2.5903666600092921</c:v>
                </c:pt>
                <c:pt idx="36">
                  <c:v>2.9003878541454013</c:v>
                </c:pt>
                <c:pt idx="37">
                  <c:v>2.8915720855917679</c:v>
                </c:pt>
                <c:pt idx="38">
                  <c:v>2.5712658281430865</c:v>
                </c:pt>
                <c:pt idx="39">
                  <c:v>2.3405865509896784</c:v>
                </c:pt>
                <c:pt idx="40">
                  <c:v>2.3964197518293564</c:v>
                </c:pt>
                <c:pt idx="41">
                  <c:v>2.6035903128397422</c:v>
                </c:pt>
                <c:pt idx="42">
                  <c:v>3.0091156663068808</c:v>
                </c:pt>
                <c:pt idx="43">
                  <c:v>3.3382376923091952</c:v>
                </c:pt>
                <c:pt idx="44">
                  <c:v>3.3294219237555622</c:v>
                </c:pt>
                <c:pt idx="45">
                  <c:v>3.11784347846835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0982784"/>
        <c:axId val="400481576"/>
      </c:lineChart>
      <c:catAx>
        <c:axId val="360982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1576"/>
        <c:crosses val="autoZero"/>
        <c:auto val="1"/>
        <c:lblAlgn val="ctr"/>
        <c:lblOffset val="100"/>
        <c:tickLblSkip val="1"/>
        <c:noMultiLvlLbl val="1"/>
      </c:catAx>
      <c:valAx>
        <c:axId val="400481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60982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20046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7963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9157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30486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15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1979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1677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4540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66222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65820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898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90032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00226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2862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32044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879663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09239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53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80297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80426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25754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7087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03640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4750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6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435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4159AF-26F1-42E1-BF83-F89C20A19403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7950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5" r:id="rId9"/>
    <p:sldLayoutId id="2147483666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chart" Target="../charts/chart5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2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32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chart" Target="../charts/chart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chart" Target="../charts/chart8.xml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4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10" Type="http://schemas.openxmlformats.org/officeDocument/2006/relationships/chart" Target="../charts/chart9.xml"/><Relationship Id="rId4" Type="http://schemas.openxmlformats.org/officeDocument/2006/relationships/tags" Target="../tags/tag56.xml"/><Relationship Id="rId9" Type="http://schemas.openxmlformats.org/officeDocument/2006/relationships/notesSlide" Target="../notesSlides/notesSlide1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10" Type="http://schemas.openxmlformats.org/officeDocument/2006/relationships/chart" Target="../charts/chart10.xml"/><Relationship Id="rId4" Type="http://schemas.openxmlformats.org/officeDocument/2006/relationships/tags" Target="../tags/tag63.xml"/><Relationship Id="rId9" Type="http://schemas.openxmlformats.org/officeDocument/2006/relationships/notesSlide" Target="../notesSlides/notesSlide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chart" Target="../charts/chart1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chart" Target="../charts/chart1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chart" Target="../charts/chart13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8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chart" Target="../charts/chart14.xml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chart" Target="../charts/chart15.xml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chart" Target="../charts/chart16.xml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chart" Target="../charts/char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3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18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800" dirty="0">
                <a:latin typeface="+mj-lt"/>
              </a:rPr>
              <a:t>Hodnocení pandemie COVID-19 </a:t>
            </a:r>
            <a:br>
              <a:rPr lang="cs-CZ" sz="4800" dirty="0">
                <a:latin typeface="+mj-lt"/>
              </a:rPr>
            </a:br>
            <a:r>
              <a:rPr lang="cs-CZ" sz="48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240535" y="3766261"/>
            <a:ext cx="9553575" cy="1964740"/>
          </a:xfrm>
        </p:spPr>
        <p:txBody>
          <a:bodyPr>
            <a:normAutofit/>
          </a:bodyPr>
          <a:lstStyle/>
          <a:p>
            <a:r>
              <a:rPr lang="cs-CZ" sz="4800" b="1" dirty="0"/>
              <a:t>Vybrané ukazatele šíření epidemie s časovými trendy </a:t>
            </a:r>
          </a:p>
        </p:txBody>
      </p:sp>
    </p:spTree>
    <p:extLst>
      <p:ext uri="{BB962C8B-B14F-4D97-AF65-F5344CB8AC3E}">
        <p14:creationId xmlns:p14="http://schemas.microsoft.com/office/powerpoint/2010/main" val="33381038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192024" y="1266074"/>
            <a:ext cx="3136392" cy="16312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b="1" dirty="0">
                <a:solidFill>
                  <a:schemeClr val="accent2"/>
                </a:solidFill>
              </a:rPr>
              <a:t>ČR patří mezi země s nadprůměrným počtem testů.</a:t>
            </a:r>
          </a:p>
          <a:p>
            <a:endParaRPr lang="cs-CZ" sz="2000" b="1" dirty="0">
              <a:solidFill>
                <a:schemeClr val="accent2"/>
              </a:solidFill>
            </a:endParaRPr>
          </a:p>
          <a:p>
            <a:r>
              <a:rPr lang="cs-CZ" sz="2000" b="1" dirty="0">
                <a:solidFill>
                  <a:schemeClr val="accent2"/>
                </a:solidFill>
              </a:rPr>
              <a:t> 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3037C891-3535-4749-B865-6CF5CC868C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6746" y="723206"/>
            <a:ext cx="8627762" cy="60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332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285474"/>
              </p:ext>
            </p:extLst>
          </p:nvPr>
        </p:nvGraphicFramePr>
        <p:xfrm>
          <a:off x="775744" y="840581"/>
          <a:ext cx="5013663" cy="5288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18.10. 2021—21.11. 20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4 3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5 1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8 90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8 65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 01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 69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 55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 91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 65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 00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 12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 82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 9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 37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 2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18.10. 2021 do 21.11. 2021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18081279"/>
              </p:ext>
            </p:extLst>
          </p:nvPr>
        </p:nvGraphicFramePr>
        <p:xfrm>
          <a:off x="6058960" y="857516"/>
          <a:ext cx="5013663" cy="531807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18.10. 2021—21.11. 20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 0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 3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57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5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5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 8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 8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 4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 7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 18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2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 76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9351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 6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 1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0925239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1A9A6F4A-628E-4A32-81CF-FE19A683E8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92583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5.11. 2021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1C1E252-7505-49CF-963F-853CC8FAC6B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75743" y="6177432"/>
            <a:ext cx="501366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* </a:t>
            </a:r>
            <a:r>
              <a:rPr lang="cs-CZ" sz="1100" dirty="0">
                <a:solidFill>
                  <a:srgbClr val="000000"/>
                </a:solidFill>
              </a:rPr>
              <a:t>U Švédska nejsou dostupné údaje o počtu provedených testů za 46.</a:t>
            </a:r>
            <a:r>
              <a:rPr lang="cs-CZ" sz="1100" dirty="0"/>
              <a:t> t</a:t>
            </a:r>
            <a:r>
              <a:rPr lang="cs-CZ" sz="1100" dirty="0">
                <a:solidFill>
                  <a:srgbClr val="000000"/>
                </a:solidFill>
              </a:rPr>
              <a:t>ýden </a:t>
            </a:r>
            <a:r>
              <a:rPr lang="cs-CZ" sz="1100" dirty="0"/>
              <a:t>roku 2021. U Rumunska chybí údaje za 45. týden roku 2021, </a:t>
            </a:r>
            <a:r>
              <a:rPr lang="cs-CZ" sz="1100" dirty="0">
                <a:solidFill>
                  <a:srgbClr val="000000"/>
                </a:solidFill>
              </a:rPr>
              <a:t>proto byly u této země použity údaje z přechozí verze dat ECDC.</a:t>
            </a:r>
            <a:endParaRPr lang="cs-CZ" sz="1100" dirty="0"/>
          </a:p>
        </p:txBody>
      </p:sp>
    </p:spTree>
    <p:extLst>
      <p:ext uri="{BB962C8B-B14F-4D97-AF65-F5344CB8AC3E}">
        <p14:creationId xmlns:p14="http://schemas.microsoft.com/office/powerpoint/2010/main" val="3491496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72844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provedených test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100 tisíc osob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1422507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244600"/>
            <a:ext cx="3156144" cy="477519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celkový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počítaný na 100 tisíc osob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začátku epidem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 2021.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0" algn="ctr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Pozn.: Údaje o počtu provedených testů nejsou dostupné u 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Švédska za 29.,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u Kypru za 42.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, u Estonska za 43. a u Litvy za 34. a 41. týden roku 2020 a u Švédska za 45. týden roku 2021.</a:t>
            </a:r>
            <a:r>
              <a:rPr lang="cs-CZ" sz="1100" dirty="0">
                <a:solidFill>
                  <a:srgbClr val="000000"/>
                </a:solidFill>
              </a:rPr>
              <a:t> Dále chybí 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údaje u Švédska za 31.—39., u Slovenska za 23., 27., 35., 37., 40. a 41., u Francie za 44.—46. týden a u Lotyšska za 44.—46. týden roku 2020, a u Rumunska za 45. týden roku 2021, proto byly u těchto zemí pro tyto týdny použity údaje z přechozí verze dat ECDC.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V případě Bulharska j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e</a:t>
            </a:r>
            <a:r>
              <a:rPr kumimoji="0" lang="cs-CZ" sz="11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 v 1. týdnu roku 2020 uveden nepravděpodobně vysoký počet testů, proto testy v tomto týdnu nejsou do analýzy zahrnuty. </a:t>
            </a:r>
            <a:r>
              <a:rPr lang="cs-CZ" sz="1100" dirty="0">
                <a:solidFill>
                  <a:srgbClr val="000000"/>
                </a:solidFill>
              </a:rPr>
              <a:t>U Lichtenštejnsku jsou údaje dostupné až od 29. týdne roku 2021</a:t>
            </a:r>
            <a:r>
              <a:rPr lang="cs-CZ" sz="1150" dirty="0">
                <a:solidFill>
                  <a:srgbClr val="000000"/>
                </a:solidFill>
              </a:rPr>
              <a:t>. </a:t>
            </a:r>
            <a:endParaRPr kumimoji="0" lang="cs-CZ" sz="11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2661427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367058A-8992-403D-964A-22E4F40FED24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23929082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14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241250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53272" y="1310313"/>
            <a:ext cx="3156144" cy="437082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8.1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 2021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lvl="0"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46. týden roku 2021, a proto nebyla tato země do analýzy zahrnuta. U Rumunska chybí údaje za 45. týden roku 2021, proto byly u této země použity údaje z přechozí verze dat ECDC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14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3275877" y="5904636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1ED9F66F-9613-4871-BB84-97F861A900D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4367264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25.11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7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9965120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472183"/>
            <a:ext cx="3156144" cy="4370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týdnu (8</a:t>
            </a:r>
            <a:r>
              <a:rPr lang="cs-CZ" sz="1600" dirty="0">
                <a:solidFill>
                  <a:srgbClr val="000000"/>
                </a:solidFill>
              </a:rPr>
              <a:t>.11.—14.1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)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6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lang="cs-CZ" sz="1600" dirty="0">
                <a:solidFill>
                  <a:srgbClr val="000000"/>
                </a:solidFill>
              </a:rPr>
              <a:t>týdnu (15.11.—21.11.)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ku 2021.</a:t>
            </a:r>
          </a:p>
          <a:p>
            <a:pPr lvl="0" algn="ctr"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46. týden roku 2021, a proto nebyla tato země do analýzy zahrnuta. U Rumunska chybí údaje za 45. týden roku 2021, proto byly u této země použity údaje z přechozí verze dat ECDC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7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3051843" y="5895862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1D1E692-519E-4DAB-B393-73DA8A84FB26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39569092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4498432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35443"/>
            <a:ext cx="44719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počtu 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daném týdnu 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7384" y="4447335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CD61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1649" y="401816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8000" y="382862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9966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0275" y="462517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podílu potvrzených případů z počtu provedených testů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972734"/>
            <a:ext cx="3156144" cy="364066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vývoj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období 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 2021)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C542E05-0690-4206-8063-94C7127469F5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17800771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Mortalita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Data o počtech úmrtí hlášená v reálném čase mají velmi omezenou hodnotu. Státy je budou muset doplnit, validovat, určit příčinu úmrtí …… </a:t>
            </a:r>
          </a:p>
        </p:txBody>
      </p:sp>
    </p:spTree>
    <p:extLst>
      <p:ext uri="{BB962C8B-B14F-4D97-AF65-F5344CB8AC3E}">
        <p14:creationId xmlns:p14="http://schemas.microsoft.com/office/powerpoint/2010/main" val="10455691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692640" y="6316981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25.11. 2021</a:t>
            </a:r>
          </a:p>
        </p:txBody>
      </p:sp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0259433"/>
              </p:ext>
            </p:extLst>
          </p:nvPr>
        </p:nvGraphicFramePr>
        <p:xfrm>
          <a:off x="584948" y="766578"/>
          <a:ext cx="5400000" cy="55504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b="1" dirty="0"/>
                        <a:t>Země</a:t>
                      </a:r>
                      <a:endParaRPr lang="cs-CZ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7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14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1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8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,9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7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lká Britán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4897957"/>
              </p:ext>
            </p:extLst>
          </p:nvPr>
        </p:nvGraphicFramePr>
        <p:xfrm>
          <a:off x="6250375" y="757705"/>
          <a:ext cx="5400000" cy="532906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2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14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848665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425165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9916256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kumulativního počtu na 100tis. 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521151" y="6266552"/>
            <a:ext cx="6661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</p:spTree>
    <p:extLst>
      <p:ext uri="{BB962C8B-B14F-4D97-AF65-F5344CB8AC3E}">
        <p14:creationId xmlns:p14="http://schemas.microsoft.com/office/powerpoint/2010/main" val="17326524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164043"/>
              </p:ext>
            </p:extLst>
          </p:nvPr>
        </p:nvGraphicFramePr>
        <p:xfrm>
          <a:off x="584948" y="766578"/>
          <a:ext cx="5400000" cy="55504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1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8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,9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7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lká Britán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3372893"/>
              </p:ext>
            </p:extLst>
          </p:nvPr>
        </p:nvGraphicFramePr>
        <p:xfrm>
          <a:off x="6250375" y="757703"/>
          <a:ext cx="5400000" cy="532906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8">
                <a:tc>
                  <a:txBody>
                    <a:bodyPr/>
                    <a:lstStyle/>
                    <a:p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2430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33057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3131000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7denních počtů na 100tis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73440A-A00D-4FD9-9C64-073BC91449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1151" y="6266552"/>
            <a:ext cx="6661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D35B1809-FF4A-4FA6-84D2-6B53B965FED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734204" y="6316981"/>
            <a:ext cx="22499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25.11. 2021</a:t>
            </a:r>
          </a:p>
        </p:txBody>
      </p:sp>
    </p:spTree>
    <p:extLst>
      <p:ext uri="{BB962C8B-B14F-4D97-AF65-F5344CB8AC3E}">
        <p14:creationId xmlns:p14="http://schemas.microsoft.com/office/powerpoint/2010/main" val="3413332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6537033"/>
              </p:ext>
            </p:extLst>
          </p:nvPr>
        </p:nvGraphicFramePr>
        <p:xfrm>
          <a:off x="584948" y="766578"/>
          <a:ext cx="5400000" cy="55504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1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8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,9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7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0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lká Britán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284899"/>
              </p:ext>
            </p:extLst>
          </p:nvPr>
        </p:nvGraphicFramePr>
        <p:xfrm>
          <a:off x="6250375" y="757703"/>
          <a:ext cx="5400000" cy="532906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3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79691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6897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6322813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14denních počtů na 100tis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3DAD6DAE-1E8D-4CA5-8E94-BEE4F57505C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1151" y="6266552"/>
            <a:ext cx="6661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66082D44-DCFC-4188-A99C-A1E5233386C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725892" y="6316981"/>
            <a:ext cx="22582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25.11. 2021</a:t>
            </a:r>
          </a:p>
        </p:txBody>
      </p:sp>
    </p:spTree>
    <p:extLst>
      <p:ext uri="{BB962C8B-B14F-4D97-AF65-F5344CB8AC3E}">
        <p14:creationId xmlns:p14="http://schemas.microsoft.com/office/powerpoint/2010/main" val="27264589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129973"/>
              </p:ext>
            </p:extLst>
          </p:nvPr>
        </p:nvGraphicFramePr>
        <p:xfrm>
          <a:off x="2570678" y="1043782"/>
          <a:ext cx="6684884" cy="553391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712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kratka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/>
                        <a:t>Země</a:t>
                      </a:r>
                      <a:endParaRPr lang="cs-CZ" sz="14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dirty="0"/>
                        <a:t>Zkratka</a:t>
                      </a:r>
                      <a:endParaRPr lang="cs-CZ" sz="1400" u="none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elg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ď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ulh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G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lt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M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Česká republik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Z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ěmec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Dá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izozem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Esto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o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ranc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rtuga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Chorvat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akou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A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umu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R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land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Řecko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EL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tál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e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Kyp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Y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chtenštej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paně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S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tv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véd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otyš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V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Velká Britán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U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ucembu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eznam zkratek zemí EU, EHP a Velké Británie</a:t>
            </a:r>
          </a:p>
        </p:txBody>
      </p:sp>
    </p:spTree>
    <p:extLst>
      <p:ext uri="{BB962C8B-B14F-4D97-AF65-F5344CB8AC3E}">
        <p14:creationId xmlns:p14="http://schemas.microsoft.com/office/powerpoint/2010/main" val="15136243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5.11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3277259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54066" y="471105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881" y="399665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2692" y="490058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60569" y="451591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14denního</a:t>
            </a:r>
            <a:r>
              <a:rPr lang="cs-CZ" sz="2000" dirty="0">
                <a:latin typeface="+mj-lt"/>
              </a:rPr>
              <a:t> kumulativního počtu úmrtí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3394946"/>
            <a:ext cx="2904485" cy="226425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6. týdne roku 2021 (15.11.—21.1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</p:txBody>
      </p:sp>
    </p:spTree>
    <p:extLst>
      <p:ext uri="{BB962C8B-B14F-4D97-AF65-F5344CB8AC3E}">
        <p14:creationId xmlns:p14="http://schemas.microsoft.com/office/powerpoint/2010/main" val="25392050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5.11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2399650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64956" y="492653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4957" y="406955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6920" y="471802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51595" y="452277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7denního</a:t>
            </a:r>
            <a:r>
              <a:rPr lang="cs-CZ" sz="2000" dirty="0">
                <a:latin typeface="+mj-lt"/>
              </a:rPr>
              <a:t> kumulativního počtu úmrt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1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3394946"/>
            <a:ext cx="2904485" cy="226425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6. týdne roku 2021 (15.11.—21.1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</p:txBody>
      </p:sp>
    </p:spTree>
    <p:extLst>
      <p:ext uri="{BB962C8B-B14F-4D97-AF65-F5344CB8AC3E}">
        <p14:creationId xmlns:p14="http://schemas.microsoft.com/office/powerpoint/2010/main" val="9424058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5.11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měr kumulativního počtu úmrtí ke kumulativnímu počtu potvrzených případů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783811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19773" y="2244436"/>
            <a:ext cx="3156144" cy="356315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měr kumulativního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úmrtí ke </a:t>
            </a:r>
            <a:r>
              <a:rPr lang="cs-CZ" sz="1600" b="1" u="sng" dirty="0">
                <a:solidFill>
                  <a:schemeClr val="tx1"/>
                </a:solidFill>
              </a:rPr>
              <a:t>kumulativnímu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od začátku epidemie do 21.11. 2021</a:t>
            </a:r>
            <a:br>
              <a:rPr lang="cs-CZ" sz="1600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(„naivní“ case fatality </a:t>
            </a:r>
            <a:r>
              <a:rPr lang="cs-CZ" sz="1600" b="1" dirty="0" err="1">
                <a:solidFill>
                  <a:schemeClr val="tx1"/>
                </a:solidFill>
              </a:rPr>
              <a:t>rate</a:t>
            </a:r>
            <a:r>
              <a:rPr lang="cs-CZ" sz="1600" b="1" dirty="0">
                <a:solidFill>
                  <a:schemeClr val="tx1"/>
                </a:solidFill>
              </a:rPr>
              <a:t>, </a:t>
            </a:r>
            <a:br>
              <a:rPr lang="cs-CZ" sz="1600" b="1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v případě rychlého růstu počtu případů je nezbytná opatrná interpretace)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měr úmrtí a potvrzených případů onemocnění v zemích EU, EHP a Velké Británii </a:t>
            </a: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3988297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5321102" y="1050408"/>
            <a:ext cx="65163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rozdílné testovací strategie. Státy také rozdílně v čase aktualizují publikovaná data. Vedle možných rozdílů </a:t>
            </a:r>
            <a:br>
              <a:rPr lang="cs-CZ" sz="1400" i="1" dirty="0"/>
            </a:br>
            <a:r>
              <a:rPr lang="cs-CZ" sz="1400" i="1" dirty="0"/>
              <a:t>v dostupnosti a úspěšnosti léčebné péče může ukazatel svědčit zejména </a:t>
            </a:r>
          </a:p>
          <a:p>
            <a:pPr algn="r"/>
            <a:r>
              <a:rPr lang="cs-CZ" sz="1400" i="1" dirty="0"/>
              <a:t>o relativním „</a:t>
            </a:r>
            <a:r>
              <a:rPr lang="cs-CZ" sz="1400" i="1" dirty="0" err="1"/>
              <a:t>podhlášení</a:t>
            </a:r>
            <a:r>
              <a:rPr lang="cs-CZ" sz="1400" i="1" dirty="0"/>
              <a:t>“ počtu případů nebo naopak zemřelých.</a:t>
            </a:r>
          </a:p>
        </p:txBody>
      </p:sp>
    </p:spTree>
    <p:extLst>
      <p:ext uri="{BB962C8B-B14F-4D97-AF65-F5344CB8AC3E}">
        <p14:creationId xmlns:p14="http://schemas.microsoft.com/office/powerpoint/2010/main" val="252379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4196029"/>
            <a:ext cx="9553575" cy="1564691"/>
          </a:xfrm>
        </p:spPr>
        <p:txBody>
          <a:bodyPr>
            <a:normAutofit/>
          </a:bodyPr>
          <a:lstStyle/>
          <a:p>
            <a:r>
              <a:rPr lang="cs-CZ" sz="4800" b="1" dirty="0"/>
              <a:t>Očkování v mezinárodním srovnání</a:t>
            </a:r>
          </a:p>
        </p:txBody>
      </p:sp>
    </p:spTree>
    <p:extLst>
      <p:ext uri="{BB962C8B-B14F-4D97-AF65-F5344CB8AC3E}">
        <p14:creationId xmlns:p14="http://schemas.microsoft.com/office/powerpoint/2010/main" val="12911364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454704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23.11. 2021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6200855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4.11. 2021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2856767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385216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23.11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9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4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4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1322726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23.11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,5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7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6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,5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6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7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 2021</a:t>
            </a:r>
          </a:p>
        </p:txBody>
      </p:sp>
    </p:spTree>
    <p:extLst>
      <p:ext uri="{BB962C8B-B14F-4D97-AF65-F5344CB8AC3E}">
        <p14:creationId xmlns:p14="http://schemas.microsoft.com/office/powerpoint/2010/main" val="22290917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2136400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23.11. 2021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728719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4.11. 2021</a:t>
            </a:r>
          </a:p>
        </p:txBody>
      </p:sp>
      <p:sp>
        <p:nvSpPr>
          <p:cNvPr id="15" name="Obdélník 14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15333923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0234059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23.11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4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1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3369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684617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>
                          <a:latin typeface="+mj-lt"/>
                        </a:rPr>
                        <a:t>Pořad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23.11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6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,9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4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2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5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4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4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56862735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 2021</a:t>
            </a:r>
          </a:p>
        </p:txBody>
      </p:sp>
    </p:spTree>
    <p:extLst>
      <p:ext uri="{BB962C8B-B14F-4D97-AF65-F5344CB8AC3E}">
        <p14:creationId xmlns:p14="http://schemas.microsoft.com/office/powerpoint/2010/main" val="343446215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4.11. 2021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828333" y="2709333"/>
            <a:ext cx="3156144" cy="30688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</a:t>
            </a:r>
            <a:r>
              <a:rPr lang="cs-CZ" sz="1600" b="1" u="sng" dirty="0">
                <a:solidFill>
                  <a:schemeClr val="tx1"/>
                </a:solidFill>
              </a:rPr>
              <a:t> podíl</a:t>
            </a:r>
            <a:r>
              <a:rPr lang="cs-CZ" sz="1600" dirty="0">
                <a:solidFill>
                  <a:schemeClr val="tx1"/>
                </a:solidFill>
              </a:rPr>
              <a:t> 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u="sng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a </a:t>
            </a:r>
            <a:r>
              <a:rPr lang="cs-CZ" sz="1600" b="1" u="sng" dirty="0">
                <a:solidFill>
                  <a:schemeClr val="tx1"/>
                </a:solidFill>
              </a:rPr>
              <a:t>podíl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 23.11. 2021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2042482" y="3387735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úplným očkováním z počtu obyvatel</a:t>
            </a:r>
          </a:p>
        </p:txBody>
      </p:sp>
      <p:graphicFrame>
        <p:nvGraphicFramePr>
          <p:cNvPr id="17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95393477"/>
              </p:ext>
            </p:extLst>
          </p:nvPr>
        </p:nvGraphicFramePr>
        <p:xfrm>
          <a:off x="532014" y="1233288"/>
          <a:ext cx="7601681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>
            <a:off x="723208" y="6412408"/>
            <a:ext cx="7390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1. dávkou z počtu obyvatel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rovnání podílů osob s vykázaným očkováním 1. dávkou a osob s vykázaným úplným očkováním v zemích EU a EHP</a:t>
            </a:r>
            <a:endParaRPr lang="cs-CZ" sz="2000" u="sng" dirty="0">
              <a:latin typeface="+mj-lt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6045200" y="690389"/>
            <a:ext cx="608753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reportova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35873375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516263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35443"/>
            <a:ext cx="44719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odíl osob s vykázaným očkováním z počtu obyvatel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podílu osob s vykázaným 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972734"/>
            <a:ext cx="3156144" cy="364066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vývoj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období 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 2021).</a:t>
            </a:r>
          </a:p>
        </p:txBody>
      </p:sp>
    </p:spTree>
    <p:extLst>
      <p:ext uri="{BB962C8B-B14F-4D97-AF65-F5344CB8AC3E}">
        <p14:creationId xmlns:p14="http://schemas.microsoft.com/office/powerpoint/2010/main" val="3960795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nově diagnostikovaných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262640186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1133292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35443"/>
            <a:ext cx="44719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odíl osob s vykázaným očkováním z počtu obyvatel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podílu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972734"/>
            <a:ext cx="3156144" cy="364066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vývoj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období 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 2021).</a:t>
            </a:r>
          </a:p>
        </p:txBody>
      </p:sp>
    </p:spTree>
    <p:extLst>
      <p:ext uri="{BB962C8B-B14F-4D97-AF65-F5344CB8AC3E}">
        <p14:creationId xmlns:p14="http://schemas.microsoft.com/office/powerpoint/2010/main" val="21581776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 Evropě se epidemická situace zhoršuje</a:t>
            </a:r>
          </a:p>
        </p:txBody>
      </p:sp>
      <p:sp>
        <p:nvSpPr>
          <p:cNvPr id="13" name="TextovéPole 12"/>
          <p:cNvSpPr txBox="1"/>
          <p:nvPr>
            <p:custDataLst>
              <p:tags r:id="rId1"/>
            </p:custDataLst>
          </p:nvPr>
        </p:nvSpPr>
        <p:spPr>
          <a:xfrm>
            <a:off x="173582" y="1010209"/>
            <a:ext cx="319615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2200" b="1" dirty="0">
                <a:solidFill>
                  <a:srgbClr val="C00000"/>
                </a:solidFill>
                <a:latin typeface="Calibri" panose="020F0502020204030204"/>
              </a:rPr>
              <a:t>Mapa shrnuje aktualizovaná data ECDC k 21. 11. 2021.  </a:t>
            </a:r>
            <a:endParaRPr lang="cs-CZ" sz="2200" dirty="0">
              <a:solidFill>
                <a:srgbClr val="C00000"/>
              </a:solidFill>
              <a:latin typeface="Calibri" panose="020F0502020204030204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93BCDC17-BAAA-4F4C-886C-097C1A3E0F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6747" y="714893"/>
            <a:ext cx="8627762" cy="60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5445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37201" y="2313138"/>
            <a:ext cx="3200092" cy="358813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14denní kumulativní počet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</a:t>
            </a:r>
            <a:r>
              <a:rPr lang="cs-CZ" sz="1600" b="1" u="sng" dirty="0">
                <a:solidFill>
                  <a:schemeClr val="tx1"/>
                </a:solidFill>
              </a:rPr>
              <a:t>přepočítaný na 100 tisíc osob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k 7.11. 2021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a 21.11. 2021.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denní kumulativní počet případů onemocnění na 100 tisíc osob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383532" y="5986979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5.11. 2021</a:t>
            </a:r>
          </a:p>
        </p:txBody>
      </p:sp>
      <p:graphicFrame>
        <p:nvGraphicFramePr>
          <p:cNvPr id="9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38718630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2665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otvrzených případů onemocnění v zemích EU, EHP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a Velké Británii (14denní kumulativní počet)</a:t>
            </a:r>
          </a:p>
        </p:txBody>
      </p:sp>
      <p:sp>
        <p:nvSpPr>
          <p:cNvPr id="12" name="Obdélník 11"/>
          <p:cNvSpPr/>
          <p:nvPr>
            <p:custDataLst>
              <p:tags r:id="rId4"/>
            </p:custDataLst>
          </p:nvPr>
        </p:nvSpPr>
        <p:spPr>
          <a:xfrm rot="16200000">
            <a:off x="1750432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7534656" y="1574473"/>
            <a:ext cx="42830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6203659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5.11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8992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případů onemocnění 100 tisíc osob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69533"/>
            <a:ext cx="2904485" cy="43814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6. týdne roku 2021 (15.11.—21.1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95785" y="245396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85356" y="364512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85509" y="442751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85509" y="291556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14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45072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8646037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5.11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8868881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případů onemocnění 100 tisíc osob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7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41514"/>
            <a:ext cx="2904485" cy="4381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6. týdne roku 2021 (15.11.—21.1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36609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19BC0D0-959D-4E8E-A71C-05A83CEEEA6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577" y="203818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89EBFAB1-1614-4ECE-A214-7AF399DB0350}"/>
              </a:ext>
            </a:extLst>
          </p:cNvPr>
          <p:cNvSpPr txBox="1"/>
          <p:nvPr/>
        </p:nvSpPr>
        <p:spPr>
          <a:xfrm>
            <a:off x="8268730" y="337081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B1AA9DE3-6FB8-4639-B002-0E7FCE4D52A6}"/>
              </a:ext>
            </a:extLst>
          </p:cNvPr>
          <p:cNvSpPr txBox="1"/>
          <p:nvPr/>
        </p:nvSpPr>
        <p:spPr>
          <a:xfrm>
            <a:off x="8260570" y="419475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B9D7D5B-AF10-44B6-8594-DAA0A2D6545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8772" y="234398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</p:spTree>
    <p:extLst>
      <p:ext uri="{BB962C8B-B14F-4D97-AF65-F5344CB8AC3E}">
        <p14:creationId xmlns:p14="http://schemas.microsoft.com/office/powerpoint/2010/main" val="19710835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% změna týdenního kumulativního počtu potvrzených případů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5.11. 2021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rocentuální změna týdenního kumulativního počtu potvrzených případů</a:t>
            </a: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88551" y="2485506"/>
            <a:ext cx="2986781" cy="35004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% změnu týdenního kumulativního</a:t>
            </a:r>
            <a:r>
              <a:rPr lang="cs-CZ" sz="1600" dirty="0">
                <a:solidFill>
                  <a:schemeClr val="tx1"/>
                </a:solidFill>
              </a:rPr>
              <a:t> </a:t>
            </a:r>
            <a:r>
              <a:rPr lang="cs-CZ" sz="1600" b="1" u="sng" dirty="0">
                <a:solidFill>
                  <a:schemeClr val="tx1"/>
                </a:solidFill>
              </a:rPr>
              <a:t>počtu</a:t>
            </a:r>
            <a:r>
              <a:rPr lang="cs-CZ" sz="1600" dirty="0">
                <a:solidFill>
                  <a:schemeClr val="tx1"/>
                </a:solidFill>
              </a:rPr>
              <a:t> potvrzených případů onemocnění v 44. týdnu vs. 43. týdnu a 46. týdnu vs. 45. týdnu roku 2021.</a:t>
            </a:r>
          </a:p>
          <a:p>
            <a:pPr algn="ctr"/>
            <a:endParaRPr lang="cs-CZ" sz="1600" dirty="0">
              <a:solidFill>
                <a:schemeClr val="tx1"/>
              </a:solidFill>
            </a:endParaRPr>
          </a:p>
        </p:txBody>
      </p:sp>
      <p:graphicFrame>
        <p:nvGraphicFramePr>
          <p:cNvPr id="12" name="Zástupný symbol pro obsah 6">
            <a:extLst>
              <a:ext uri="{FF2B5EF4-FFF2-40B4-BE49-F238E27FC236}">
                <a16:creationId xmlns:a16="http://schemas.microsoft.com/office/drawing/2014/main" id="{F13BB43F-25A2-477B-B389-4C1E0C908283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51138920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Obdélník 9"/>
          <p:cNvSpPr/>
          <p:nvPr>
            <p:custDataLst>
              <p:tags r:id="rId4"/>
            </p:custDataLst>
          </p:nvPr>
        </p:nvSpPr>
        <p:spPr>
          <a:xfrm rot="16200000">
            <a:off x="2854190" y="588260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9" name="TextovéPole 8"/>
          <p:cNvSpPr txBox="1"/>
          <p:nvPr>
            <p:custDataLst>
              <p:tags r:id="rId5"/>
            </p:custDataLst>
          </p:nvPr>
        </p:nvSpPr>
        <p:spPr>
          <a:xfrm>
            <a:off x="8660504" y="964406"/>
            <a:ext cx="33536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>
                <a:solidFill>
                  <a:srgbClr val="C00000"/>
                </a:solidFill>
              </a:rPr>
              <a:t>Relativní změna v kumulativním počtu nově diagnostikovaných případů ukazuje na dynamiku šíření nákazy v čase. </a:t>
            </a:r>
          </a:p>
        </p:txBody>
      </p:sp>
    </p:spTree>
    <p:extLst>
      <p:ext uri="{BB962C8B-B14F-4D97-AF65-F5344CB8AC3E}">
        <p14:creationId xmlns:p14="http://schemas.microsoft.com/office/powerpoint/2010/main" val="20371787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testů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35551120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17371</TotalTime>
  <Words>3215</Words>
  <Application>Microsoft Office PowerPoint</Application>
  <PresentationFormat>Širokoúhlá obrazovka</PresentationFormat>
  <Paragraphs>989</Paragraphs>
  <Slides>30</Slides>
  <Notes>24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30</vt:i4>
      </vt:variant>
    </vt:vector>
  </HeadingPairs>
  <TitlesOfParts>
    <vt:vector size="34" baseType="lpstr">
      <vt:lpstr>Arial</vt:lpstr>
      <vt:lpstr>Arial (Základní text)</vt:lpstr>
      <vt:lpstr>Calibri</vt:lpstr>
      <vt:lpstr>Motiv Office</vt:lpstr>
      <vt:lpstr>Hodnocení pandemie COVID-19  v mezinárodním srovnání </vt:lpstr>
      <vt:lpstr>Seznam zkratek zemí EU, EHP a Velké Británie</vt:lpstr>
      <vt:lpstr>Hodnocení pandemie COVID-19  v mezinárodním srovnání </vt:lpstr>
      <vt:lpstr>V Evropě se epidemická situace zhoršuje</vt:lpstr>
      <vt:lpstr>Počet potvrzených případů onemocnění v zemích EU, EHP  a Velké Británii (14denní kumulativní počet)</vt:lpstr>
      <vt:lpstr>Vývoj 14denního kumulativního počtu potvrzených případů onemocnění ve vybraných evropských zemích</vt:lpstr>
      <vt:lpstr>Vývoj 7denního kumulativního počtu potvrzených případů onemocnění ve vybraných evropských zemích</vt:lpstr>
      <vt:lpstr>Procentuální změna týdenního kumulativního počtu potvrzených případů</vt:lpstr>
      <vt:lpstr>Hodnocení pandemie COVID-19  v mezinárodním srovnání </vt:lpstr>
      <vt:lpstr>Počet provedených testů v zemích EU a EHP</vt:lpstr>
      <vt:lpstr>Počet provedených testů v zemích EU a EHP  od 18.10. 2021 do 21.11. 2021</vt:lpstr>
      <vt:lpstr>Počet provedených testů v zemích EU a EHP  od začátku epidemie</vt:lpstr>
      <vt:lpstr>14denní podíl potvrzených případů z počtu provedených testů v zemích EU a EHP</vt:lpstr>
      <vt:lpstr>7denní podíl potvrzených případů z počtu provedených testů v zemích EU a EHP</vt:lpstr>
      <vt:lpstr>Vývoj podílu potvrzených případů z počtu provedených testů ve vybraných evropských zemích</vt:lpstr>
      <vt:lpstr>Hodnocení pandemie COVID-19  v mezinárodním srovnání </vt:lpstr>
      <vt:lpstr>Úmrtí – srovnání zemí řazeno dle kumulativního počtu na 100tis. </vt:lpstr>
      <vt:lpstr>Úmrtí – srovnání zemí řazeno dle 7denních počtů na 100tis.</vt:lpstr>
      <vt:lpstr>Úmrtí – srovnání zemí řazeno dle 14denních počtů na 100tis</vt:lpstr>
      <vt:lpstr>Vývoj 14denního kumulativního počtu úmrtí  ve vybraných evropských zemích</vt:lpstr>
      <vt:lpstr>Vývoj 7denního kumulativního počtu úmrtí ve vybraných evropských zemích</vt:lpstr>
      <vt:lpstr>Poměr úmrtí a potvrzených případů onemocnění v zemích EU, EHP a Velké Británii od začátku epidemie</vt:lpstr>
      <vt:lpstr>Hodnocení pandemie COVID-19  v mezinárodním srovnání </vt:lpstr>
      <vt:lpstr>Podíl osob s vykázaným očkováním 1. dávkou v zemích EU a EHP</vt:lpstr>
      <vt:lpstr>Podíl osob s vykázaným očkováním 1. dávkou v zemích EU a EHP</vt:lpstr>
      <vt:lpstr>Podíl osob s vykázaným úplným očkováním v zemích EU a EHP</vt:lpstr>
      <vt:lpstr>Podíl osob s vykázaným úplným očkováním v zemích EU a EHP</vt:lpstr>
      <vt:lpstr>Srovnání podílů osob s vykázaným očkováním 1. dávkou a osob s vykázaným úplným očkováním v zemích EU a EHP</vt:lpstr>
      <vt:lpstr>Vývoj podílu osob s vykázaným očkováním 1. dávkou ve vybraných evropských zemích</vt:lpstr>
      <vt:lpstr>Vývoj podílu osob s vykázaným úplným očkováním ve vybraných evropských zemích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ývoj epidemie COVID-19 v ČR  Souhrn hlavních statistických ukazatelů dle regionů</dc:title>
  <dc:creator>Nováková Tereza Mgr.</dc:creator>
  <cp:lastModifiedBy>Dušek Ladislav prof. RNDr. Ph.D.</cp:lastModifiedBy>
  <cp:revision>1051</cp:revision>
  <dcterms:created xsi:type="dcterms:W3CDTF">2020-11-14T13:18:43Z</dcterms:created>
  <dcterms:modified xsi:type="dcterms:W3CDTF">2021-11-28T19:31:40Z</dcterms:modified>
</cp:coreProperties>
</file>